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94" r:id="rId5"/>
  </p:sldMasterIdLst>
  <p:notesMasterIdLst>
    <p:notesMasterId r:id="rId13"/>
  </p:notesMasterIdLst>
  <p:handoutMasterIdLst>
    <p:handoutMasterId r:id="rId14"/>
  </p:handoutMasterIdLst>
  <p:sldIdLst>
    <p:sldId id="348" r:id="rId6"/>
    <p:sldId id="2147473595" r:id="rId7"/>
    <p:sldId id="2141412380" r:id="rId8"/>
    <p:sldId id="2141412379" r:id="rId9"/>
    <p:sldId id="2147473602" r:id="rId10"/>
    <p:sldId id="2141412381" r:id="rId11"/>
    <p:sldId id="2147473603" r:id="rId12"/>
  </p:sldIdLst>
  <p:sldSz cx="12192000" cy="6858000"/>
  <p:notesSz cx="6735763" cy="9866313"/>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749" userDrawn="1">
          <p15:clr>
            <a:srgbClr val="A4A3A4"/>
          </p15:clr>
        </p15:guide>
        <p15:guide id="2" pos="483" userDrawn="1">
          <p15:clr>
            <a:srgbClr val="5ACBF0"/>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2A7700-C179-2E2E-E165-64F08BBC3E75}" name="Borchert, Daniel" initials="DB" userId="S::D.Borchert@BHAG.DE::19b5281e-64e0-44f6-9be6-248e3451f8f4" providerId="AD"/>
  <p188:author id="{BBB82D07-3E63-3F41-EAA6-F203067C9ECB}" name="Weich, Alexandra" initials="AW" userId="S::A.Weich@BHAG.DE::601373e5-1eef-4ed2-a3b9-9a5e7881cef7" providerId="AD"/>
  <p188:author id="{CD08645C-619B-A93E-D83F-27F7F8E8C9CB}" name="Gebauer, Harald" initials="HG" userId="S::H.Gebauer@BHAG.DE::1e3706c6-5e8d-48af-8b34-843f7ad8e985" providerId="AD"/>
  <p188:author id="{184A1EB1-7E6B-27A3-6421-AC73D627ACFF}" name="Androleit, Sofia" initials="SA" userId="S::Sofia.Androleit@bbh-beratung.de::a235e272-1198-4b45-ad6e-d78819128082" providerId="AD"/>
  <p188:author id="{49C3C2D3-F4E8-2228-1E26-B54B59C3883B}" name="Böing, Heinrich" initials="HB" userId="S::Heinrich.Boeing@bbh-beratung.de::d8b17357-82b9-45ba-aac1-b9c7b6f728a6" providerId="AD"/>
  <p188:author id="{3F8C74E9-55AC-7C6C-1FD7-4A4CDE56B63C}" name="Heß, Carolin" initials="HC" userId="S::carolin.hess@bbh-online.de::dcc2c755-e18a-4a56-b583-7778e32a16db" providerId="AD"/>
  <p188:author id="{053F39F5-31D3-3904-FC0C-EB65268C2044}" name="Sakmann, Sebastian" initials="SS" userId="S::Sebastian.Sakmann@bbh-beratung.de::677db367-4fdc-4b05-993c-0f6fcad32d5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ß, Carolin" initials="HC" lastIdx="3" clrIdx="0">
    <p:extLst>
      <p:ext uri="{19B8F6BF-5375-455C-9EA6-DF929625EA0E}">
        <p15:presenceInfo xmlns:p15="http://schemas.microsoft.com/office/powerpoint/2012/main" userId="S::carolin.hess@bbh-online.de::dcc2c755-e18a-4a56-b583-7778e32a16d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3F0E7"/>
    <a:srgbClr val="FBFD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B42A73-E4F3-4135-A92D-771E84DC22B7}" v="214" dt="2024-12-10T13:42:18.44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836" autoAdjust="0"/>
    <p:restoredTop sz="94660"/>
  </p:normalViewPr>
  <p:slideViewPr>
    <p:cSldViewPr snapToGrid="0">
      <p:cViewPr>
        <p:scale>
          <a:sx n="125" d="100"/>
          <a:sy n="125" d="100"/>
        </p:scale>
        <p:origin x="3714" y="588"/>
      </p:cViewPr>
      <p:guideLst>
        <p:guide pos="3749"/>
        <p:guide pos="483"/>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handoutMaster" Target="handoutMasters/handout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oleit, Sofia" userId="a235e272-1198-4b45-ad6e-d78819128082" providerId="ADAL" clId="{451BAC58-0EA8-4F63-8CEA-D814B48951F3}"/>
    <pc:docChg chg="undo custSel addSld delSld modSld sldOrd modMainMaster">
      <pc:chgData name="Androleit, Sofia" userId="a235e272-1198-4b45-ad6e-d78819128082" providerId="ADAL" clId="{451BAC58-0EA8-4F63-8CEA-D814B48951F3}" dt="2024-12-03T16:29:49.405" v="19952" actId="20577"/>
      <pc:docMkLst>
        <pc:docMk/>
      </pc:docMkLst>
      <pc:sldChg chg="modSp mod">
        <pc:chgData name="Androleit, Sofia" userId="a235e272-1198-4b45-ad6e-d78819128082" providerId="ADAL" clId="{451BAC58-0EA8-4F63-8CEA-D814B48951F3}" dt="2024-12-03T10:11:05.802" v="12905" actId="20577"/>
        <pc:sldMkLst>
          <pc:docMk/>
          <pc:sldMk cId="1007497733" sldId="348"/>
        </pc:sldMkLst>
        <pc:spChg chg="mod">
          <ac:chgData name="Androleit, Sofia" userId="a235e272-1198-4b45-ad6e-d78819128082" providerId="ADAL" clId="{451BAC58-0EA8-4F63-8CEA-D814B48951F3}" dt="2024-12-03T10:11:05.802" v="12905" actId="20577"/>
          <ac:spMkLst>
            <pc:docMk/>
            <pc:sldMk cId="1007497733" sldId="348"/>
            <ac:spMk id="5" creationId="{3B5C146B-DA67-93D7-761A-A487D5EA0F81}"/>
          </ac:spMkLst>
        </pc:spChg>
      </pc:sldChg>
      <pc:sldChg chg="del">
        <pc:chgData name="Androleit, Sofia" userId="a235e272-1198-4b45-ad6e-d78819128082" providerId="ADAL" clId="{451BAC58-0EA8-4F63-8CEA-D814B48951F3}" dt="2024-12-03T10:06:01.100" v="0" actId="2696"/>
        <pc:sldMkLst>
          <pc:docMk/>
          <pc:sldMk cId="1711702419" sldId="355"/>
        </pc:sldMkLst>
      </pc:sldChg>
      <pc:sldChg chg="del">
        <pc:chgData name="Androleit, Sofia" userId="a235e272-1198-4b45-ad6e-d78819128082" providerId="ADAL" clId="{451BAC58-0EA8-4F63-8CEA-D814B48951F3}" dt="2024-12-03T10:06:48.025" v="688" actId="2696"/>
        <pc:sldMkLst>
          <pc:docMk/>
          <pc:sldMk cId="2809482274" sldId="361"/>
        </pc:sldMkLst>
      </pc:sldChg>
      <pc:sldChg chg="del">
        <pc:chgData name="Androleit, Sofia" userId="a235e272-1198-4b45-ad6e-d78819128082" providerId="ADAL" clId="{451BAC58-0EA8-4F63-8CEA-D814B48951F3}" dt="2024-12-03T10:06:29.876" v="549" actId="2696"/>
        <pc:sldMkLst>
          <pc:docMk/>
          <pc:sldMk cId="1853529447" sldId="11983"/>
        </pc:sldMkLst>
      </pc:sldChg>
      <pc:sldChg chg="del">
        <pc:chgData name="Androleit, Sofia" userId="a235e272-1198-4b45-ad6e-d78819128082" providerId="ADAL" clId="{451BAC58-0EA8-4F63-8CEA-D814B48951F3}" dt="2024-12-03T10:06:29.876" v="549" actId="2696"/>
        <pc:sldMkLst>
          <pc:docMk/>
          <pc:sldMk cId="2966189299" sldId="12019"/>
        </pc:sldMkLst>
      </pc:sldChg>
      <pc:sldChg chg="del">
        <pc:chgData name="Androleit, Sofia" userId="a235e272-1198-4b45-ad6e-d78819128082" providerId="ADAL" clId="{451BAC58-0EA8-4F63-8CEA-D814B48951F3}" dt="2024-12-03T10:06:29.876" v="549" actId="2696"/>
        <pc:sldMkLst>
          <pc:docMk/>
          <pc:sldMk cId="2325623967" sldId="12054"/>
        </pc:sldMkLst>
      </pc:sldChg>
      <pc:sldChg chg="del">
        <pc:chgData name="Androleit, Sofia" userId="a235e272-1198-4b45-ad6e-d78819128082" providerId="ADAL" clId="{451BAC58-0EA8-4F63-8CEA-D814B48951F3}" dt="2024-12-03T10:06:29.876" v="549" actId="2696"/>
        <pc:sldMkLst>
          <pc:docMk/>
          <pc:sldMk cId="3672013654" sldId="12247"/>
        </pc:sldMkLst>
      </pc:sldChg>
      <pc:sldChg chg="del">
        <pc:chgData name="Androleit, Sofia" userId="a235e272-1198-4b45-ad6e-d78819128082" providerId="ADAL" clId="{451BAC58-0EA8-4F63-8CEA-D814B48951F3}" dt="2024-12-03T10:06:38.745" v="618" actId="2696"/>
        <pc:sldMkLst>
          <pc:docMk/>
          <pc:sldMk cId="3579792704" sldId="2141412377"/>
        </pc:sldMkLst>
      </pc:sldChg>
      <pc:sldChg chg="del">
        <pc:chgData name="Androleit, Sofia" userId="a235e272-1198-4b45-ad6e-d78819128082" providerId="ADAL" clId="{451BAC58-0EA8-4F63-8CEA-D814B48951F3}" dt="2024-12-03T10:06:38.745" v="618" actId="2696"/>
        <pc:sldMkLst>
          <pc:docMk/>
          <pc:sldMk cId="1631596107" sldId="2141412378"/>
        </pc:sldMkLst>
      </pc:sldChg>
      <pc:sldChg chg="del">
        <pc:chgData name="Androleit, Sofia" userId="a235e272-1198-4b45-ad6e-d78819128082" providerId="ADAL" clId="{451BAC58-0EA8-4F63-8CEA-D814B48951F3}" dt="2024-12-03T10:06:38.745" v="618" actId="2696"/>
        <pc:sldMkLst>
          <pc:docMk/>
          <pc:sldMk cId="3036043915" sldId="2141412379"/>
        </pc:sldMkLst>
      </pc:sldChg>
      <pc:sldChg chg="del">
        <pc:chgData name="Androleit, Sofia" userId="a235e272-1198-4b45-ad6e-d78819128082" providerId="ADAL" clId="{451BAC58-0EA8-4F63-8CEA-D814B48951F3}" dt="2024-12-03T10:06:38.745" v="618" actId="2696"/>
        <pc:sldMkLst>
          <pc:docMk/>
          <pc:sldMk cId="63494748" sldId="2141412380"/>
        </pc:sldMkLst>
      </pc:sldChg>
      <pc:sldChg chg="del">
        <pc:chgData name="Androleit, Sofia" userId="a235e272-1198-4b45-ad6e-d78819128082" providerId="ADAL" clId="{451BAC58-0EA8-4F63-8CEA-D814B48951F3}" dt="2024-12-03T10:06:38.745" v="618" actId="2696"/>
        <pc:sldMkLst>
          <pc:docMk/>
          <pc:sldMk cId="817067389" sldId="2141412381"/>
        </pc:sldMkLst>
      </pc:sldChg>
      <pc:sldChg chg="del">
        <pc:chgData name="Androleit, Sofia" userId="a235e272-1198-4b45-ad6e-d78819128082" providerId="ADAL" clId="{451BAC58-0EA8-4F63-8CEA-D814B48951F3}" dt="2024-12-03T10:06:40.928" v="619" actId="2696"/>
        <pc:sldMkLst>
          <pc:docMk/>
          <pc:sldMk cId="446919473" sldId="2141412382"/>
        </pc:sldMkLst>
      </pc:sldChg>
      <pc:sldChg chg="del">
        <pc:chgData name="Androleit, Sofia" userId="a235e272-1198-4b45-ad6e-d78819128082" providerId="ADAL" clId="{451BAC58-0EA8-4F63-8CEA-D814B48951F3}" dt="2024-12-03T10:06:48.025" v="688" actId="2696"/>
        <pc:sldMkLst>
          <pc:docMk/>
          <pc:sldMk cId="894563335" sldId="2141412383"/>
        </pc:sldMkLst>
      </pc:sldChg>
      <pc:sldChg chg="del">
        <pc:chgData name="Androleit, Sofia" userId="a235e272-1198-4b45-ad6e-d78819128082" providerId="ADAL" clId="{451BAC58-0EA8-4F63-8CEA-D814B48951F3}" dt="2024-12-03T10:06:29.876" v="549" actId="2696"/>
        <pc:sldMkLst>
          <pc:docMk/>
          <pc:sldMk cId="1793714773" sldId="2141412411"/>
        </pc:sldMkLst>
      </pc:sldChg>
      <pc:sldChg chg="del">
        <pc:chgData name="Androleit, Sofia" userId="a235e272-1198-4b45-ad6e-d78819128082" providerId="ADAL" clId="{451BAC58-0EA8-4F63-8CEA-D814B48951F3}" dt="2024-12-03T10:06:29.876" v="549" actId="2696"/>
        <pc:sldMkLst>
          <pc:docMk/>
          <pc:sldMk cId="2254533692" sldId="2141412412"/>
        </pc:sldMkLst>
      </pc:sldChg>
      <pc:sldChg chg="del">
        <pc:chgData name="Androleit, Sofia" userId="a235e272-1198-4b45-ad6e-d78819128082" providerId="ADAL" clId="{451BAC58-0EA8-4F63-8CEA-D814B48951F3}" dt="2024-12-03T10:06:20.816" v="2" actId="2696"/>
        <pc:sldMkLst>
          <pc:docMk/>
          <pc:sldMk cId="3630063836" sldId="2147473543"/>
        </pc:sldMkLst>
      </pc:sldChg>
      <pc:sldChg chg="del">
        <pc:chgData name="Androleit, Sofia" userId="a235e272-1198-4b45-ad6e-d78819128082" providerId="ADAL" clId="{451BAC58-0EA8-4F63-8CEA-D814B48951F3}" dt="2024-12-03T10:06:38.745" v="618" actId="2696"/>
        <pc:sldMkLst>
          <pc:docMk/>
          <pc:sldMk cId="87288147" sldId="2147473599"/>
        </pc:sldMkLst>
      </pc:sldChg>
      <pc:sldChg chg="del">
        <pc:chgData name="Androleit, Sofia" userId="a235e272-1198-4b45-ad6e-d78819128082" providerId="ADAL" clId="{451BAC58-0EA8-4F63-8CEA-D814B48951F3}" dt="2024-12-03T10:06:48.025" v="688" actId="2696"/>
        <pc:sldMkLst>
          <pc:docMk/>
          <pc:sldMk cId="1187035697" sldId="2147473600"/>
        </pc:sldMkLst>
      </pc:sldChg>
      <pc:sldChg chg="addSp delSp modSp mod modTransition modShow">
        <pc:chgData name="Androleit, Sofia" userId="a235e272-1198-4b45-ad6e-d78819128082" providerId="ADAL" clId="{451BAC58-0EA8-4F63-8CEA-D814B48951F3}" dt="2024-12-03T11:44:28.608" v="19707"/>
        <pc:sldMkLst>
          <pc:docMk/>
          <pc:sldMk cId="4175456837" sldId="2147473690"/>
        </pc:sldMkLst>
        <pc:spChg chg="mod ord">
          <ac:chgData name="Androleit, Sofia" userId="a235e272-1198-4b45-ad6e-d78819128082" providerId="ADAL" clId="{451BAC58-0EA8-4F63-8CEA-D814B48951F3}" dt="2024-12-03T11:44:28.577" v="19682" actId="948"/>
          <ac:spMkLst>
            <pc:docMk/>
            <pc:sldMk cId="4175456837" sldId="2147473690"/>
            <ac:spMk id="2" creationId="{419A0FBB-9F69-06E6-7FB9-876FE6695F32}"/>
          </ac:spMkLst>
        </pc:spChg>
        <pc:spChg chg="mod ord">
          <ac:chgData name="Androleit, Sofia" userId="a235e272-1198-4b45-ad6e-d78819128082" providerId="ADAL" clId="{451BAC58-0EA8-4F63-8CEA-D814B48951F3}" dt="2024-12-03T11:30:41.683" v="17977"/>
          <ac:spMkLst>
            <pc:docMk/>
            <pc:sldMk cId="4175456837" sldId="2147473690"/>
            <ac:spMk id="3" creationId="{DE5862B4-95A9-EBF7-A0A0-D186060D49A4}"/>
          </ac:spMkLst>
        </pc:spChg>
        <pc:spChg chg="add del mod modVis">
          <ac:chgData name="Androleit, Sofia" userId="a235e272-1198-4b45-ad6e-d78819128082" providerId="ADAL" clId="{451BAC58-0EA8-4F63-8CEA-D814B48951F3}" dt="2024-12-03T10:06:23.187" v="534"/>
          <ac:spMkLst>
            <pc:docMk/>
            <pc:sldMk cId="4175456837" sldId="2147473690"/>
            <ac:spMk id="4" creationId="{6711E1C5-024C-C365-AEA6-111D12D2F962}"/>
          </ac:spMkLst>
        </pc:spChg>
        <pc:spChg chg="del mod ord">
          <ac:chgData name="Androleit, Sofia" userId="a235e272-1198-4b45-ad6e-d78819128082" providerId="ADAL" clId="{451BAC58-0EA8-4F63-8CEA-D814B48951F3}" dt="2024-12-03T11:30:41.186" v="17776"/>
          <ac:spMkLst>
            <pc:docMk/>
            <pc:sldMk cId="4175456837" sldId="2147473690"/>
            <ac:spMk id="5" creationId="{13004079-1EE4-A630-4D6D-3BA6E3E6DBEF}"/>
          </ac:spMkLst>
        </pc:spChg>
        <pc:spChg chg="add del mod modVis">
          <ac:chgData name="Androleit, Sofia" userId="a235e272-1198-4b45-ad6e-d78819128082" providerId="ADAL" clId="{451BAC58-0EA8-4F63-8CEA-D814B48951F3}" dt="2024-12-03T10:07:24.205" v="1949"/>
          <ac:spMkLst>
            <pc:docMk/>
            <pc:sldMk cId="4175456837" sldId="2147473690"/>
            <ac:spMk id="7" creationId="{F437B465-D227-058B-3CB1-55C121EF6D4B}"/>
          </ac:spMkLst>
        </pc:spChg>
        <pc:spChg chg="mod ord">
          <ac:chgData name="Androleit, Sofia" userId="a235e272-1198-4b45-ad6e-d78819128082" providerId="ADAL" clId="{451BAC58-0EA8-4F63-8CEA-D814B48951F3}" dt="2024-12-03T11:44:28.562" v="19670" actId="948"/>
          <ac:spMkLst>
            <pc:docMk/>
            <pc:sldMk cId="4175456837" sldId="2147473690"/>
            <ac:spMk id="8" creationId="{3E645D5D-E3C3-84BA-9040-EE57EDFAD393}"/>
          </ac:spMkLst>
        </pc:spChg>
        <pc:spChg chg="add del mod modVis">
          <ac:chgData name="Androleit, Sofia" userId="a235e272-1198-4b45-ad6e-d78819128082" providerId="ADAL" clId="{451BAC58-0EA8-4F63-8CEA-D814B48951F3}" dt="2024-12-03T10:07:26.674" v="2136"/>
          <ac:spMkLst>
            <pc:docMk/>
            <pc:sldMk cId="4175456837" sldId="2147473690"/>
            <ac:spMk id="9" creationId="{F0F3DC82-01AA-3BA0-EA11-263FCAAC97BF}"/>
          </ac:spMkLst>
        </pc:spChg>
        <pc:spChg chg="del mod ord">
          <ac:chgData name="Androleit, Sofia" userId="a235e272-1198-4b45-ad6e-d78819128082" providerId="ADAL" clId="{451BAC58-0EA8-4F63-8CEA-D814B48951F3}" dt="2024-12-03T10:09:12.538" v="7553"/>
          <ac:spMkLst>
            <pc:docMk/>
            <pc:sldMk cId="4175456837" sldId="2147473690"/>
            <ac:spMk id="10" creationId="{A84ED6F8-7B3F-CE7D-E261-3C80908C3C6F}"/>
          </ac:spMkLst>
        </pc:spChg>
        <pc:spChg chg="add del mod modVis">
          <ac:chgData name="Androleit, Sofia" userId="a235e272-1198-4b45-ad6e-d78819128082" providerId="ADAL" clId="{451BAC58-0EA8-4F63-8CEA-D814B48951F3}" dt="2024-12-03T10:07:28.573" v="2319"/>
          <ac:spMkLst>
            <pc:docMk/>
            <pc:sldMk cId="4175456837" sldId="2147473690"/>
            <ac:spMk id="11" creationId="{F6201C09-83E3-3B76-E6CB-6FE82183BE34}"/>
          </ac:spMkLst>
        </pc:spChg>
        <pc:spChg chg="add del mod modVis">
          <ac:chgData name="Androleit, Sofia" userId="a235e272-1198-4b45-ad6e-d78819128082" providerId="ADAL" clId="{451BAC58-0EA8-4F63-8CEA-D814B48951F3}" dt="2024-12-03T10:07:45.255" v="2501"/>
          <ac:spMkLst>
            <pc:docMk/>
            <pc:sldMk cId="4175456837" sldId="2147473690"/>
            <ac:spMk id="12" creationId="{43E760B4-70E3-CC46-78FF-8093327D62D3}"/>
          </ac:spMkLst>
        </pc:spChg>
        <pc:spChg chg="add del mod modVis">
          <ac:chgData name="Androleit, Sofia" userId="a235e272-1198-4b45-ad6e-d78819128082" providerId="ADAL" clId="{451BAC58-0EA8-4F63-8CEA-D814B48951F3}" dt="2024-12-03T10:07:47.616" v="2687"/>
          <ac:spMkLst>
            <pc:docMk/>
            <pc:sldMk cId="4175456837" sldId="2147473690"/>
            <ac:spMk id="13" creationId="{4A5E82C6-E6B8-CD78-EC4E-9B9B97FD855B}"/>
          </ac:spMkLst>
        </pc:spChg>
        <pc:spChg chg="mod ord">
          <ac:chgData name="Androleit, Sofia" userId="a235e272-1198-4b45-ad6e-d78819128082" providerId="ADAL" clId="{451BAC58-0EA8-4F63-8CEA-D814B48951F3}" dt="2024-12-03T11:44:28.562" v="19669" actId="948"/>
          <ac:spMkLst>
            <pc:docMk/>
            <pc:sldMk cId="4175456837" sldId="2147473690"/>
            <ac:spMk id="14" creationId="{1A29CD13-6BDC-FB34-3224-38BB34F6997A}"/>
          </ac:spMkLst>
        </pc:spChg>
        <pc:spChg chg="add del mod modVis">
          <ac:chgData name="Androleit, Sofia" userId="a235e272-1198-4b45-ad6e-d78819128082" providerId="ADAL" clId="{451BAC58-0EA8-4F63-8CEA-D814B48951F3}" dt="2024-12-03T10:08:02.239" v="2870"/>
          <ac:spMkLst>
            <pc:docMk/>
            <pc:sldMk cId="4175456837" sldId="2147473690"/>
            <ac:spMk id="15" creationId="{6FEB553B-F47F-5580-B1B7-8C8EAFEB43EB}"/>
          </ac:spMkLst>
        </pc:spChg>
        <pc:spChg chg="add del mod modVis">
          <ac:chgData name="Androleit, Sofia" userId="a235e272-1198-4b45-ad6e-d78819128082" providerId="ADAL" clId="{451BAC58-0EA8-4F63-8CEA-D814B48951F3}" dt="2024-12-03T10:08:04.475" v="3056"/>
          <ac:spMkLst>
            <pc:docMk/>
            <pc:sldMk cId="4175456837" sldId="2147473690"/>
            <ac:spMk id="16" creationId="{CDF0353F-6695-D6C5-83AC-E37685CA7045}"/>
          </ac:spMkLst>
        </pc:spChg>
        <pc:spChg chg="add del mod modVis">
          <ac:chgData name="Androleit, Sofia" userId="a235e272-1198-4b45-ad6e-d78819128082" providerId="ADAL" clId="{451BAC58-0EA8-4F63-8CEA-D814B48951F3}" dt="2024-12-03T10:08:05.242" v="3231"/>
          <ac:spMkLst>
            <pc:docMk/>
            <pc:sldMk cId="4175456837" sldId="2147473690"/>
            <ac:spMk id="17" creationId="{36D482E9-F745-537C-5C59-2845CC76B15D}"/>
          </ac:spMkLst>
        </pc:spChg>
        <pc:spChg chg="add del mod modVis">
          <ac:chgData name="Androleit, Sofia" userId="a235e272-1198-4b45-ad6e-d78819128082" providerId="ADAL" clId="{451BAC58-0EA8-4F63-8CEA-D814B48951F3}" dt="2024-12-03T10:08:14.176" v="4090"/>
          <ac:spMkLst>
            <pc:docMk/>
            <pc:sldMk cId="4175456837" sldId="2147473690"/>
            <ac:spMk id="18" creationId="{C627CB21-5930-19C4-9838-2B19DCFC59BB}"/>
          </ac:spMkLst>
        </pc:spChg>
        <pc:spChg chg="add del mod modVis">
          <ac:chgData name="Androleit, Sofia" userId="a235e272-1198-4b45-ad6e-d78819128082" providerId="ADAL" clId="{451BAC58-0EA8-4F63-8CEA-D814B48951F3}" dt="2024-12-03T10:08:16.720" v="4493"/>
          <ac:spMkLst>
            <pc:docMk/>
            <pc:sldMk cId="4175456837" sldId="2147473690"/>
            <ac:spMk id="19" creationId="{5913D49D-25AD-8B2A-52D0-FB72C1B51DA5}"/>
          </ac:spMkLst>
        </pc:spChg>
        <pc:spChg chg="add del mod ord">
          <ac:chgData name="Androleit, Sofia" userId="a235e272-1198-4b45-ad6e-d78819128082" providerId="ADAL" clId="{451BAC58-0EA8-4F63-8CEA-D814B48951F3}" dt="2024-12-03T10:08:23.280" v="5388"/>
          <ac:spMkLst>
            <pc:docMk/>
            <pc:sldMk cId="4175456837" sldId="2147473690"/>
            <ac:spMk id="20" creationId="{991D57FB-F3AD-268B-A12A-1A9F8D1A5DB2}"/>
          </ac:spMkLst>
        </pc:spChg>
        <pc:spChg chg="mod ord">
          <ac:chgData name="Androleit, Sofia" userId="a235e272-1198-4b45-ad6e-d78819128082" providerId="ADAL" clId="{451BAC58-0EA8-4F63-8CEA-D814B48951F3}" dt="2024-12-03T11:44:28.562" v="19667" actId="948"/>
          <ac:spMkLst>
            <pc:docMk/>
            <pc:sldMk cId="4175456837" sldId="2147473690"/>
            <ac:spMk id="21" creationId="{D8D1A18E-A0DF-23DA-ADF7-4654EA917E83}"/>
          </ac:spMkLst>
        </pc:spChg>
        <pc:spChg chg="add del mod modVis">
          <ac:chgData name="Androleit, Sofia" userId="a235e272-1198-4b45-ad6e-d78819128082" providerId="ADAL" clId="{451BAC58-0EA8-4F63-8CEA-D814B48951F3}" dt="2024-12-03T10:08:20.534" v="5236"/>
          <ac:spMkLst>
            <pc:docMk/>
            <pc:sldMk cId="4175456837" sldId="2147473690"/>
            <ac:spMk id="22" creationId="{A36163A3-8225-F2E8-E74D-8859350B18E9}"/>
          </ac:spMkLst>
        </pc:spChg>
        <pc:spChg chg="add del mod modVis">
          <ac:chgData name="Androleit, Sofia" userId="a235e272-1198-4b45-ad6e-d78819128082" providerId="ADAL" clId="{451BAC58-0EA8-4F63-8CEA-D814B48951F3}" dt="2024-12-03T10:08:23.469" v="5727"/>
          <ac:spMkLst>
            <pc:docMk/>
            <pc:sldMk cId="4175456837" sldId="2147473690"/>
            <ac:spMk id="23" creationId="{47224246-AE30-E130-36E7-D2B698B95F68}"/>
          </ac:spMkLst>
        </pc:spChg>
        <pc:spChg chg="add mod ord">
          <ac:chgData name="Androleit, Sofia" userId="a235e272-1198-4b45-ad6e-d78819128082" providerId="ADAL" clId="{451BAC58-0EA8-4F63-8CEA-D814B48951F3}" dt="2024-12-03T11:44:28.562" v="19671" actId="948"/>
          <ac:spMkLst>
            <pc:docMk/>
            <pc:sldMk cId="4175456837" sldId="2147473690"/>
            <ac:spMk id="24" creationId="{13F02558-E1A8-B34D-6B65-BAD70EB9AB24}"/>
          </ac:spMkLst>
        </pc:spChg>
        <pc:spChg chg="add del mod ord">
          <ac:chgData name="Androleit, Sofia" userId="a235e272-1198-4b45-ad6e-d78819128082" providerId="ADAL" clId="{451BAC58-0EA8-4F63-8CEA-D814B48951F3}" dt="2024-12-03T10:09:48.405" v="10657" actId="948"/>
          <ac:spMkLst>
            <pc:docMk/>
            <pc:sldMk cId="4175456837" sldId="2147473690"/>
            <ac:spMk id="25" creationId="{4EBC5120-DB2D-DA3E-7D10-16D9A220F1DD}"/>
          </ac:spMkLst>
        </pc:spChg>
        <pc:spChg chg="del mod ord">
          <ac:chgData name="Androleit, Sofia" userId="a235e272-1198-4b45-ad6e-d78819128082" providerId="ADAL" clId="{451BAC58-0EA8-4F63-8CEA-D814B48951F3}" dt="2024-12-03T10:09:20.399" v="7819"/>
          <ac:spMkLst>
            <pc:docMk/>
            <pc:sldMk cId="4175456837" sldId="2147473690"/>
            <ac:spMk id="26" creationId="{03354AE9-540B-B903-DB00-33271B8E9991}"/>
          </ac:spMkLst>
        </pc:spChg>
        <pc:spChg chg="add del mod modVis">
          <ac:chgData name="Androleit, Sofia" userId="a235e272-1198-4b45-ad6e-d78819128082" providerId="ADAL" clId="{451BAC58-0EA8-4F63-8CEA-D814B48951F3}" dt="2024-12-03T10:09:48.405" v="10656" actId="962"/>
          <ac:spMkLst>
            <pc:docMk/>
            <pc:sldMk cId="4175456837" sldId="2147473690"/>
            <ac:spMk id="27" creationId="{DB2615DB-8AA7-81D6-E265-3656887845FF}"/>
          </ac:spMkLst>
        </pc:spChg>
        <pc:spChg chg="add del mod modVis">
          <ac:chgData name="Androleit, Sofia" userId="a235e272-1198-4b45-ad6e-d78819128082" providerId="ADAL" clId="{451BAC58-0EA8-4F63-8CEA-D814B48951F3}" dt="2024-12-03T10:10:19.510" v="11291"/>
          <ac:spMkLst>
            <pc:docMk/>
            <pc:sldMk cId="4175456837" sldId="2147473690"/>
            <ac:spMk id="28" creationId="{A63F7BB1-13AF-3D87-C912-4DFB3A563C99}"/>
          </ac:spMkLst>
        </pc:spChg>
        <pc:spChg chg="add mod ord">
          <ac:chgData name="Androleit, Sofia" userId="a235e272-1198-4b45-ad6e-d78819128082" providerId="ADAL" clId="{451BAC58-0EA8-4F63-8CEA-D814B48951F3}" dt="2024-12-03T10:43:22.467" v="14964" actId="20577"/>
          <ac:spMkLst>
            <pc:docMk/>
            <pc:sldMk cId="4175456837" sldId="2147473690"/>
            <ac:spMk id="29" creationId="{9F1046AE-B07B-D9F6-E2AB-C472BBF080F7}"/>
          </ac:spMkLst>
        </pc:spChg>
        <pc:spChg chg="add del mod modVis">
          <ac:chgData name="Androleit, Sofia" userId="a235e272-1198-4b45-ad6e-d78819128082" providerId="ADAL" clId="{451BAC58-0EA8-4F63-8CEA-D814B48951F3}" dt="2024-12-03T10:43:22.462" v="14953" actId="962"/>
          <ac:spMkLst>
            <pc:docMk/>
            <pc:sldMk cId="4175456837" sldId="2147473690"/>
            <ac:spMk id="30" creationId="{A7E485B5-44F2-17DC-C062-EDA72FBB971D}"/>
          </ac:spMkLst>
        </pc:spChg>
        <pc:spChg chg="add del mod modVis">
          <ac:chgData name="Androleit, Sofia" userId="a235e272-1198-4b45-ad6e-d78819128082" providerId="ADAL" clId="{451BAC58-0EA8-4F63-8CEA-D814B48951F3}" dt="2024-12-03T10:43:35.773" v="15584"/>
          <ac:spMkLst>
            <pc:docMk/>
            <pc:sldMk cId="4175456837" sldId="2147473690"/>
            <ac:spMk id="31" creationId="{CF472CE8-DC61-CA3A-171F-7B10AA834D79}"/>
          </ac:spMkLst>
        </pc:spChg>
        <pc:spChg chg="add del mod ord">
          <ac:chgData name="Androleit, Sofia" userId="a235e272-1198-4b45-ad6e-d78819128082" providerId="ADAL" clId="{451BAC58-0EA8-4F63-8CEA-D814B48951F3}" dt="2024-12-03T11:30:27.145" v="16626"/>
          <ac:spMkLst>
            <pc:docMk/>
            <pc:sldMk cId="4175456837" sldId="2147473690"/>
            <ac:spMk id="32" creationId="{E46D677B-6B7D-3C4C-601D-0BFBA283A1E0}"/>
          </ac:spMkLst>
        </pc:spChg>
        <pc:spChg chg="add del mod modVis">
          <ac:chgData name="Androleit, Sofia" userId="a235e272-1198-4b45-ad6e-d78819128082" providerId="ADAL" clId="{451BAC58-0EA8-4F63-8CEA-D814B48951F3}" dt="2024-12-03T11:30:19.477" v="16323"/>
          <ac:spMkLst>
            <pc:docMk/>
            <pc:sldMk cId="4175456837" sldId="2147473690"/>
            <ac:spMk id="33" creationId="{72A60383-5788-60DA-5285-6533FB966062}"/>
          </ac:spMkLst>
        </pc:spChg>
        <pc:spChg chg="add del mod ord">
          <ac:chgData name="Androleit, Sofia" userId="a235e272-1198-4b45-ad6e-d78819128082" providerId="ADAL" clId="{451BAC58-0EA8-4F63-8CEA-D814B48951F3}" dt="2024-12-03T11:30:28.922" v="16864"/>
          <ac:spMkLst>
            <pc:docMk/>
            <pc:sldMk cId="4175456837" sldId="2147473690"/>
            <ac:spMk id="34" creationId="{7827FE49-8EED-E4DD-46B0-3B8282B42C2D}"/>
          </ac:spMkLst>
        </pc:spChg>
        <pc:spChg chg="add del mod modVis">
          <ac:chgData name="Androleit, Sofia" userId="a235e272-1198-4b45-ad6e-d78819128082" providerId="ADAL" clId="{451BAC58-0EA8-4F63-8CEA-D814B48951F3}" dt="2024-12-03T11:30:27.609" v="16757"/>
          <ac:spMkLst>
            <pc:docMk/>
            <pc:sldMk cId="4175456837" sldId="2147473690"/>
            <ac:spMk id="35" creationId="{85EBA0CF-FEA8-20C2-8C0F-30F33F1AD48F}"/>
          </ac:spMkLst>
        </pc:spChg>
        <pc:spChg chg="add del mod ord">
          <ac:chgData name="Androleit, Sofia" userId="a235e272-1198-4b45-ad6e-d78819128082" providerId="ADAL" clId="{451BAC58-0EA8-4F63-8CEA-D814B48951F3}" dt="2024-12-03T11:30:32.193" v="17104"/>
          <ac:spMkLst>
            <pc:docMk/>
            <pc:sldMk cId="4175456837" sldId="2147473690"/>
            <ac:spMk id="36" creationId="{6173C60C-159F-9558-D2E4-18E76330A03C}"/>
          </ac:spMkLst>
        </pc:spChg>
        <pc:spChg chg="add del mod modVis">
          <ac:chgData name="Androleit, Sofia" userId="a235e272-1198-4b45-ad6e-d78819128082" providerId="ADAL" clId="{451BAC58-0EA8-4F63-8CEA-D814B48951F3}" dt="2024-12-03T11:30:29.441" v="16995"/>
          <ac:spMkLst>
            <pc:docMk/>
            <pc:sldMk cId="4175456837" sldId="2147473690"/>
            <ac:spMk id="37" creationId="{A0EF6AAE-3A30-A15F-60EA-1E90E33DDA92}"/>
          </ac:spMkLst>
        </pc:spChg>
        <pc:spChg chg="add del mod ord">
          <ac:chgData name="Androleit, Sofia" userId="a235e272-1198-4b45-ad6e-d78819128082" providerId="ADAL" clId="{451BAC58-0EA8-4F63-8CEA-D814B48951F3}" dt="2024-12-03T11:30:33.995" v="17338"/>
          <ac:spMkLst>
            <pc:docMk/>
            <pc:sldMk cId="4175456837" sldId="2147473690"/>
            <ac:spMk id="38" creationId="{0F5AC50E-4F88-17E0-5DB1-36F00A4EBD76}"/>
          </ac:spMkLst>
        </pc:spChg>
        <pc:spChg chg="add del mod modVis">
          <ac:chgData name="Androleit, Sofia" userId="a235e272-1198-4b45-ad6e-d78819128082" providerId="ADAL" clId="{451BAC58-0EA8-4F63-8CEA-D814B48951F3}" dt="2024-12-03T11:30:32.589" v="17235"/>
          <ac:spMkLst>
            <pc:docMk/>
            <pc:sldMk cId="4175456837" sldId="2147473690"/>
            <ac:spMk id="39" creationId="{FF4A7470-C2AB-DDBD-486E-D78642E12207}"/>
          </ac:spMkLst>
        </pc:spChg>
        <pc:spChg chg="add del mod ord">
          <ac:chgData name="Androleit, Sofia" userId="a235e272-1198-4b45-ad6e-d78819128082" providerId="ADAL" clId="{451BAC58-0EA8-4F63-8CEA-D814B48951F3}" dt="2024-12-03T11:30:35.880" v="17575"/>
          <ac:spMkLst>
            <pc:docMk/>
            <pc:sldMk cId="4175456837" sldId="2147473690"/>
            <ac:spMk id="40" creationId="{76809CE6-AAEC-93D2-F672-F3E580662EE3}"/>
          </ac:spMkLst>
        </pc:spChg>
        <pc:spChg chg="add del mod modVis">
          <ac:chgData name="Androleit, Sofia" userId="a235e272-1198-4b45-ad6e-d78819128082" providerId="ADAL" clId="{451BAC58-0EA8-4F63-8CEA-D814B48951F3}" dt="2024-12-03T11:30:34.395" v="17469"/>
          <ac:spMkLst>
            <pc:docMk/>
            <pc:sldMk cId="4175456837" sldId="2147473690"/>
            <ac:spMk id="41" creationId="{AC2C11DF-FE2C-E935-21B1-4642FC01C465}"/>
          </ac:spMkLst>
        </pc:spChg>
        <pc:spChg chg="add mod ord">
          <ac:chgData name="Androleit, Sofia" userId="a235e272-1198-4b45-ad6e-d78819128082" providerId="ADAL" clId="{451BAC58-0EA8-4F63-8CEA-D814B48951F3}" dt="2024-12-03T11:44:28.562" v="19668" actId="948"/>
          <ac:spMkLst>
            <pc:docMk/>
            <pc:sldMk cId="4175456837" sldId="2147473690"/>
            <ac:spMk id="42" creationId="{D27D7E95-6483-2A62-D6BE-A6D5C5741D0C}"/>
          </ac:spMkLst>
        </pc:spChg>
        <pc:spChg chg="add del mod modVis">
          <ac:chgData name="Androleit, Sofia" userId="a235e272-1198-4b45-ad6e-d78819128082" providerId="ADAL" clId="{451BAC58-0EA8-4F63-8CEA-D814B48951F3}" dt="2024-12-03T11:30:36.340" v="17706"/>
          <ac:spMkLst>
            <pc:docMk/>
            <pc:sldMk cId="4175456837" sldId="2147473690"/>
            <ac:spMk id="43" creationId="{62F024F1-E8D3-5266-45E6-F2B26DCEB3A2}"/>
          </ac:spMkLst>
        </pc:spChg>
        <pc:graphicFrameChg chg="mod">
          <ac:chgData name="Androleit, Sofia" userId="a235e272-1198-4b45-ad6e-d78819128082" providerId="ADAL" clId="{451BAC58-0EA8-4F63-8CEA-D814B48951F3}" dt="2024-12-03T11:44:28.608" v="19707"/>
          <ac:graphicFrameMkLst>
            <pc:docMk/>
            <pc:sldMk cId="4175456837" sldId="2147473690"/>
            <ac:graphicFrameMk id="6" creationId="{56028E92-FE70-7F3A-1143-B30D5BE90A20}"/>
          </ac:graphicFrameMkLst>
        </pc:graphicFrameChg>
      </pc:sldChg>
      <pc:sldChg chg="addSp delSp modSp mod modTransition">
        <pc:chgData name="Androleit, Sofia" userId="a235e272-1198-4b45-ad6e-d78819128082" providerId="ADAL" clId="{451BAC58-0EA8-4F63-8CEA-D814B48951F3}" dt="2024-12-03T11:44:28.608" v="19705"/>
        <pc:sldMkLst>
          <pc:docMk/>
          <pc:sldMk cId="626306548" sldId="2147473691"/>
        </pc:sldMkLst>
        <pc:spChg chg="mod ord">
          <ac:chgData name="Androleit, Sofia" userId="a235e272-1198-4b45-ad6e-d78819128082" providerId="ADAL" clId="{451BAC58-0EA8-4F63-8CEA-D814B48951F3}" dt="2024-12-03T11:44:28.577" v="19681" actId="948"/>
          <ac:spMkLst>
            <pc:docMk/>
            <pc:sldMk cId="626306548" sldId="2147473691"/>
            <ac:spMk id="2" creationId="{419A0FBB-9F69-06E6-7FB9-876FE6695F32}"/>
          </ac:spMkLst>
        </pc:spChg>
        <pc:spChg chg="mod ord">
          <ac:chgData name="Androleit, Sofia" userId="a235e272-1198-4b45-ad6e-d78819128082" providerId="ADAL" clId="{451BAC58-0EA8-4F63-8CEA-D814B48951F3}" dt="2024-12-03T11:39:56.501" v="19181"/>
          <ac:spMkLst>
            <pc:docMk/>
            <pc:sldMk cId="626306548" sldId="2147473691"/>
            <ac:spMk id="3" creationId="{DE5862B4-95A9-EBF7-A0A0-D186060D49A4}"/>
          </ac:spMkLst>
        </pc:spChg>
        <pc:spChg chg="del mod ord">
          <ac:chgData name="Androleit, Sofia" userId="a235e272-1198-4b45-ad6e-d78819128082" providerId="ADAL" clId="{451BAC58-0EA8-4F63-8CEA-D814B48951F3}" dt="2024-12-03T10:08:08.441" v="3255"/>
          <ac:spMkLst>
            <pc:docMk/>
            <pc:sldMk cId="626306548" sldId="2147473691"/>
            <ac:spMk id="4" creationId="{AD39286D-70E1-FD2E-FB22-B3235BDEF638}"/>
          </ac:spMkLst>
        </pc:spChg>
        <pc:spChg chg="del mod ord">
          <ac:chgData name="Androleit, Sofia" userId="a235e272-1198-4b45-ad6e-d78819128082" providerId="ADAL" clId="{451BAC58-0EA8-4F63-8CEA-D814B48951F3}" dt="2024-12-03T10:09:12.538" v="7551"/>
          <ac:spMkLst>
            <pc:docMk/>
            <pc:sldMk cId="626306548" sldId="2147473691"/>
            <ac:spMk id="5" creationId="{5F987629-4B8A-D98E-3CA7-9C0BB5E33BB9}"/>
          </ac:spMkLst>
        </pc:spChg>
        <pc:spChg chg="add del mod modVis">
          <ac:chgData name="Androleit, Sofia" userId="a235e272-1198-4b45-ad6e-d78819128082" providerId="ADAL" clId="{451BAC58-0EA8-4F63-8CEA-D814B48951F3}" dt="2024-12-03T10:06:23.171" v="522"/>
          <ac:spMkLst>
            <pc:docMk/>
            <pc:sldMk cId="626306548" sldId="2147473691"/>
            <ac:spMk id="7" creationId="{12F8328E-9CE4-CBB1-C81E-531CC5BD34EE}"/>
          </ac:spMkLst>
        </pc:spChg>
        <pc:spChg chg="add del mod ord">
          <ac:chgData name="Androleit, Sofia" userId="a235e272-1198-4b45-ad6e-d78819128082" providerId="ADAL" clId="{451BAC58-0EA8-4F63-8CEA-D814B48951F3}" dt="2024-12-03T10:07:16.747" v="1084"/>
          <ac:spMkLst>
            <pc:docMk/>
            <pc:sldMk cId="626306548" sldId="2147473691"/>
            <ac:spMk id="8" creationId="{6EFFE01C-C042-256C-FAF3-A0535EEB9A62}"/>
          </ac:spMkLst>
        </pc:spChg>
        <pc:spChg chg="del mod ord">
          <ac:chgData name="Androleit, Sofia" userId="a235e272-1198-4b45-ad6e-d78819128082" providerId="ADAL" clId="{451BAC58-0EA8-4F63-8CEA-D814B48951F3}" dt="2024-12-03T10:07:14.077" v="841"/>
          <ac:spMkLst>
            <pc:docMk/>
            <pc:sldMk cId="626306548" sldId="2147473691"/>
            <ac:spMk id="9" creationId="{D10C4CB9-FF36-0C27-61EE-ADFA4A18B7FD}"/>
          </ac:spMkLst>
        </pc:spChg>
        <pc:spChg chg="add del mod ord">
          <ac:chgData name="Androleit, Sofia" userId="a235e272-1198-4b45-ad6e-d78819128082" providerId="ADAL" clId="{451BAC58-0EA8-4F63-8CEA-D814B48951F3}" dt="2024-12-03T10:07:17.077" v="1317"/>
          <ac:spMkLst>
            <pc:docMk/>
            <pc:sldMk cId="626306548" sldId="2147473691"/>
            <ac:spMk id="10" creationId="{9A360D89-B8A5-70DE-E4D3-E81B48368CA7}"/>
          </ac:spMkLst>
        </pc:spChg>
        <pc:spChg chg="add del mod ord">
          <ac:chgData name="Androleit, Sofia" userId="a235e272-1198-4b45-ad6e-d78819128082" providerId="ADAL" clId="{451BAC58-0EA8-4F63-8CEA-D814B48951F3}" dt="2024-12-03T10:07:18.116" v="1553"/>
          <ac:spMkLst>
            <pc:docMk/>
            <pc:sldMk cId="626306548" sldId="2147473691"/>
            <ac:spMk id="11" creationId="{E90E0E69-160F-34C1-319E-AF33C76D0A64}"/>
          </ac:spMkLst>
        </pc:spChg>
        <pc:spChg chg="add mod ord">
          <ac:chgData name="Androleit, Sofia" userId="a235e272-1198-4b45-ad6e-d78819128082" providerId="ADAL" clId="{451BAC58-0EA8-4F63-8CEA-D814B48951F3}" dt="2024-12-03T11:44:28.562" v="19664" actId="948"/>
          <ac:spMkLst>
            <pc:docMk/>
            <pc:sldMk cId="626306548" sldId="2147473691"/>
            <ac:spMk id="12" creationId="{C524C5C8-0AB4-560B-D46A-9B9DBEADF938}"/>
          </ac:spMkLst>
        </pc:spChg>
        <pc:spChg chg="add del mod ord">
          <ac:chgData name="Androleit, Sofia" userId="a235e272-1198-4b45-ad6e-d78819128082" providerId="ADAL" clId="{451BAC58-0EA8-4F63-8CEA-D814B48951F3}" dt="2024-12-03T10:08:09.243" v="3478"/>
          <ac:spMkLst>
            <pc:docMk/>
            <pc:sldMk cId="626306548" sldId="2147473691"/>
            <ac:spMk id="13" creationId="{DE78D3B8-0463-BDE0-B36B-B23F5EA1C04F}"/>
          </ac:spMkLst>
        </pc:spChg>
        <pc:spChg chg="add del mod ord">
          <ac:chgData name="Androleit, Sofia" userId="a235e272-1198-4b45-ad6e-d78819128082" providerId="ADAL" clId="{451BAC58-0EA8-4F63-8CEA-D814B48951F3}" dt="2024-12-03T10:08:13.831" v="3743"/>
          <ac:spMkLst>
            <pc:docMk/>
            <pc:sldMk cId="626306548" sldId="2147473691"/>
            <ac:spMk id="14" creationId="{ED841BFD-537B-E56F-BD99-ED1106920740}"/>
          </ac:spMkLst>
        </pc:spChg>
        <pc:spChg chg="add del mod ord">
          <ac:chgData name="Androleit, Sofia" userId="a235e272-1198-4b45-ad6e-d78819128082" providerId="ADAL" clId="{451BAC58-0EA8-4F63-8CEA-D814B48951F3}" dt="2024-12-03T10:08:16.390" v="4146"/>
          <ac:spMkLst>
            <pc:docMk/>
            <pc:sldMk cId="626306548" sldId="2147473691"/>
            <ac:spMk id="15" creationId="{614FC4D1-B6E8-DFFA-1A47-182025FDD350}"/>
          </ac:spMkLst>
        </pc:spChg>
        <pc:spChg chg="add del mod modVis">
          <ac:chgData name="Androleit, Sofia" userId="a235e272-1198-4b45-ad6e-d78819128082" providerId="ADAL" clId="{451BAC58-0EA8-4F63-8CEA-D814B48951F3}" dt="2024-12-03T10:08:14.176" v="4078"/>
          <ac:spMkLst>
            <pc:docMk/>
            <pc:sldMk cId="626306548" sldId="2147473691"/>
            <ac:spMk id="16" creationId="{72F9ABCB-C38F-CCFD-9912-9A820FC6A6F7}"/>
          </ac:spMkLst>
        </pc:spChg>
        <pc:spChg chg="del mod ord">
          <ac:chgData name="Androleit, Sofia" userId="a235e272-1198-4b45-ad6e-d78819128082" providerId="ADAL" clId="{451BAC58-0EA8-4F63-8CEA-D814B48951F3}" dt="2024-12-03T10:09:20.367" v="7811"/>
          <ac:spMkLst>
            <pc:docMk/>
            <pc:sldMk cId="626306548" sldId="2147473691"/>
            <ac:spMk id="17" creationId="{FDD8784B-FEF3-D41B-7FD8-BBC9349D9164}"/>
          </ac:spMkLst>
        </pc:spChg>
        <pc:spChg chg="add mod ord">
          <ac:chgData name="Androleit, Sofia" userId="a235e272-1198-4b45-ad6e-d78819128082" providerId="ADAL" clId="{451BAC58-0EA8-4F63-8CEA-D814B48951F3}" dt="2024-12-03T11:44:28.562" v="19665" actId="948"/>
          <ac:spMkLst>
            <pc:docMk/>
            <pc:sldMk cId="626306548" sldId="2147473691"/>
            <ac:spMk id="18" creationId="{8165B92B-CB83-EB1E-CA07-84F6A998E658}"/>
          </ac:spMkLst>
        </pc:spChg>
        <pc:spChg chg="add del mod modVis">
          <ac:chgData name="Androleit, Sofia" userId="a235e272-1198-4b45-ad6e-d78819128082" providerId="ADAL" clId="{451BAC58-0EA8-4F63-8CEA-D814B48951F3}" dt="2024-12-03T10:08:16.720" v="4481"/>
          <ac:spMkLst>
            <pc:docMk/>
            <pc:sldMk cId="626306548" sldId="2147473691"/>
            <ac:spMk id="19" creationId="{21A1E43C-0B12-116D-FD22-3DF7FA5450B4}"/>
          </ac:spMkLst>
        </pc:spChg>
        <pc:spChg chg="add del mod ord">
          <ac:chgData name="Androleit, Sofia" userId="a235e272-1198-4b45-ad6e-d78819128082" providerId="ADAL" clId="{451BAC58-0EA8-4F63-8CEA-D814B48951F3}" dt="2024-12-03T10:08:23.108" v="5264"/>
          <ac:spMkLst>
            <pc:docMk/>
            <pc:sldMk cId="626306548" sldId="2147473691"/>
            <ac:spMk id="20" creationId="{F54F6BCD-8449-AAC6-C253-F6FD0E2C3496}"/>
          </ac:spMkLst>
        </pc:spChg>
        <pc:spChg chg="add del mod modVis">
          <ac:chgData name="Androleit, Sofia" userId="a235e272-1198-4b45-ad6e-d78819128082" providerId="ADAL" clId="{451BAC58-0EA8-4F63-8CEA-D814B48951F3}" dt="2024-12-03T10:08:20.518" v="5224"/>
          <ac:spMkLst>
            <pc:docMk/>
            <pc:sldMk cId="626306548" sldId="2147473691"/>
            <ac:spMk id="21" creationId="{46709111-F0C2-C782-E234-49294786D46B}"/>
          </ac:spMkLst>
        </pc:spChg>
        <pc:spChg chg="add del mod ord">
          <ac:chgData name="Androleit, Sofia" userId="a235e272-1198-4b45-ad6e-d78819128082" providerId="ADAL" clId="{451BAC58-0EA8-4F63-8CEA-D814B48951F3}" dt="2024-12-03T10:08:42.373" v="5758"/>
          <ac:spMkLst>
            <pc:docMk/>
            <pc:sldMk cId="626306548" sldId="2147473691"/>
            <ac:spMk id="22" creationId="{84B442F1-B43C-EA49-9830-72C98FD75FF7}"/>
          </ac:spMkLst>
        </pc:spChg>
        <pc:spChg chg="add del mod modVis">
          <ac:chgData name="Androleit, Sofia" userId="a235e272-1198-4b45-ad6e-d78819128082" providerId="ADAL" clId="{451BAC58-0EA8-4F63-8CEA-D814B48951F3}" dt="2024-12-03T10:08:23.456" v="5719"/>
          <ac:spMkLst>
            <pc:docMk/>
            <pc:sldMk cId="626306548" sldId="2147473691"/>
            <ac:spMk id="23" creationId="{E498B1F1-8842-6BE6-793E-C1FDFDEA0F12}"/>
          </ac:spMkLst>
        </pc:spChg>
        <pc:spChg chg="add del mod ord">
          <ac:chgData name="Androleit, Sofia" userId="a235e272-1198-4b45-ad6e-d78819128082" providerId="ADAL" clId="{451BAC58-0EA8-4F63-8CEA-D814B48951F3}" dt="2024-12-03T10:08:43.689" v="5904"/>
          <ac:spMkLst>
            <pc:docMk/>
            <pc:sldMk cId="626306548" sldId="2147473691"/>
            <ac:spMk id="24" creationId="{F6A46058-2892-DD49-FDC0-EDE4EBE2C710}"/>
          </ac:spMkLst>
        </pc:spChg>
        <pc:spChg chg="add del mod modVis">
          <ac:chgData name="Androleit, Sofia" userId="a235e272-1198-4b45-ad6e-d78819128082" providerId="ADAL" clId="{451BAC58-0EA8-4F63-8CEA-D814B48951F3}" dt="2024-12-03T10:08:42.498" v="5874"/>
          <ac:spMkLst>
            <pc:docMk/>
            <pc:sldMk cId="626306548" sldId="2147473691"/>
            <ac:spMk id="25" creationId="{679C87FF-87B2-C291-B770-7236F8B68D3C}"/>
          </ac:spMkLst>
        </pc:spChg>
        <pc:spChg chg="add del mod ord">
          <ac:chgData name="Androleit, Sofia" userId="a235e272-1198-4b45-ad6e-d78819128082" providerId="ADAL" clId="{451BAC58-0EA8-4F63-8CEA-D814B48951F3}" dt="2024-12-03T10:08:48.789" v="6061"/>
          <ac:spMkLst>
            <pc:docMk/>
            <pc:sldMk cId="626306548" sldId="2147473691"/>
            <ac:spMk id="26" creationId="{215942A3-ECC4-29D1-C5EE-413A30D0264A}"/>
          </ac:spMkLst>
        </pc:spChg>
        <pc:spChg chg="add del mod modVis">
          <ac:chgData name="Androleit, Sofia" userId="a235e272-1198-4b45-ad6e-d78819128082" providerId="ADAL" clId="{451BAC58-0EA8-4F63-8CEA-D814B48951F3}" dt="2024-12-03T10:08:43.828" v="6020"/>
          <ac:spMkLst>
            <pc:docMk/>
            <pc:sldMk cId="626306548" sldId="2147473691"/>
            <ac:spMk id="27" creationId="{B8D46C04-1658-B38B-90F3-5620996CD4DD}"/>
          </ac:spMkLst>
        </pc:spChg>
        <pc:spChg chg="add del mod ord">
          <ac:chgData name="Androleit, Sofia" userId="a235e272-1198-4b45-ad6e-d78819128082" providerId="ADAL" clId="{451BAC58-0EA8-4F63-8CEA-D814B48951F3}" dt="2024-12-03T10:08:51.209" v="6215"/>
          <ac:spMkLst>
            <pc:docMk/>
            <pc:sldMk cId="626306548" sldId="2147473691"/>
            <ac:spMk id="28" creationId="{31125C7E-EFA2-E9DD-FC2F-D6FCBA60BAE4}"/>
          </ac:spMkLst>
        </pc:spChg>
        <pc:spChg chg="add del mod modVis">
          <ac:chgData name="Androleit, Sofia" userId="a235e272-1198-4b45-ad6e-d78819128082" providerId="ADAL" clId="{451BAC58-0EA8-4F63-8CEA-D814B48951F3}" dt="2024-12-03T10:08:48.915" v="6177"/>
          <ac:spMkLst>
            <pc:docMk/>
            <pc:sldMk cId="626306548" sldId="2147473691"/>
            <ac:spMk id="29" creationId="{89C71AEE-3E1D-F8C2-92F4-E0975FDC41AD}"/>
          </ac:spMkLst>
        </pc:spChg>
        <pc:spChg chg="add del mod ord">
          <ac:chgData name="Androleit, Sofia" userId="a235e272-1198-4b45-ad6e-d78819128082" providerId="ADAL" clId="{451BAC58-0EA8-4F63-8CEA-D814B48951F3}" dt="2024-12-03T11:39:56.438" v="19152"/>
          <ac:spMkLst>
            <pc:docMk/>
            <pc:sldMk cId="626306548" sldId="2147473691"/>
            <ac:spMk id="30" creationId="{4994B292-A945-029C-4510-5394EA95CD51}"/>
          </ac:spMkLst>
        </pc:spChg>
        <pc:spChg chg="add del mod modVis">
          <ac:chgData name="Androleit, Sofia" userId="a235e272-1198-4b45-ad6e-d78819128082" providerId="ADAL" clId="{451BAC58-0EA8-4F63-8CEA-D814B48951F3}" dt="2024-12-03T10:08:51.350" v="6331"/>
          <ac:spMkLst>
            <pc:docMk/>
            <pc:sldMk cId="626306548" sldId="2147473691"/>
            <ac:spMk id="31" creationId="{B387DEEC-BAB0-EE1B-D3BB-B136E9BF9254}"/>
          </ac:spMkLst>
        </pc:spChg>
        <pc:spChg chg="add del mod ord">
          <ac:chgData name="Androleit, Sofia" userId="a235e272-1198-4b45-ad6e-d78819128082" providerId="ADAL" clId="{451BAC58-0EA8-4F63-8CEA-D814B48951F3}" dt="2024-12-03T10:08:57.718" v="6749"/>
          <ac:spMkLst>
            <pc:docMk/>
            <pc:sldMk cId="626306548" sldId="2147473691"/>
            <ac:spMk id="32" creationId="{4F511979-8536-213E-032C-4EADEC123B9E}"/>
          </ac:spMkLst>
        </pc:spChg>
        <pc:spChg chg="add del mod modVis">
          <ac:chgData name="Androleit, Sofia" userId="a235e272-1198-4b45-ad6e-d78819128082" providerId="ADAL" clId="{451BAC58-0EA8-4F63-8CEA-D814B48951F3}" dt="2024-12-03T10:08:55.117" v="6713"/>
          <ac:spMkLst>
            <pc:docMk/>
            <pc:sldMk cId="626306548" sldId="2147473691"/>
            <ac:spMk id="33" creationId="{EF53B10B-8812-1CE0-C78E-AB2487ECA543}"/>
          </ac:spMkLst>
        </pc:spChg>
        <pc:spChg chg="add del mod ord">
          <ac:chgData name="Androleit, Sofia" userId="a235e272-1198-4b45-ad6e-d78819128082" providerId="ADAL" clId="{451BAC58-0EA8-4F63-8CEA-D814B48951F3}" dt="2024-12-03T10:08:59.964" v="6887"/>
          <ac:spMkLst>
            <pc:docMk/>
            <pc:sldMk cId="626306548" sldId="2147473691"/>
            <ac:spMk id="34" creationId="{CBE6F491-349D-A6BB-0A42-96DE1B45661E}"/>
          </ac:spMkLst>
        </pc:spChg>
        <pc:spChg chg="add del mod ord">
          <ac:chgData name="Androleit, Sofia" userId="a235e272-1198-4b45-ad6e-d78819128082" providerId="ADAL" clId="{451BAC58-0EA8-4F63-8CEA-D814B48951F3}" dt="2024-12-03T10:09:07.366" v="7120"/>
          <ac:spMkLst>
            <pc:docMk/>
            <pc:sldMk cId="626306548" sldId="2147473691"/>
            <ac:spMk id="35" creationId="{D3D0A6CC-9410-5DF4-B35E-7FE0233D0D03}"/>
          </ac:spMkLst>
        </pc:spChg>
        <pc:spChg chg="add del mod modVis">
          <ac:chgData name="Androleit, Sofia" userId="a235e272-1198-4b45-ad6e-d78819128082" providerId="ADAL" clId="{451BAC58-0EA8-4F63-8CEA-D814B48951F3}" dt="2024-12-03T10:09:00.200" v="7050"/>
          <ac:spMkLst>
            <pc:docMk/>
            <pc:sldMk cId="626306548" sldId="2147473691"/>
            <ac:spMk id="36" creationId="{0A786493-5293-8B9E-608A-2E4349502360}"/>
          </ac:spMkLst>
        </pc:spChg>
        <pc:spChg chg="add del mod ord">
          <ac:chgData name="Androleit, Sofia" userId="a235e272-1198-4b45-ad6e-d78819128082" providerId="ADAL" clId="{451BAC58-0EA8-4F63-8CEA-D814B48951F3}" dt="2024-12-03T10:09:08.152" v="7316"/>
          <ac:spMkLst>
            <pc:docMk/>
            <pc:sldMk cId="626306548" sldId="2147473691"/>
            <ac:spMk id="37" creationId="{4B7641C4-54BB-220B-3104-27488A50477A}"/>
          </ac:spMkLst>
        </pc:spChg>
        <pc:spChg chg="add del mod modVis">
          <ac:chgData name="Androleit, Sofia" userId="a235e272-1198-4b45-ad6e-d78819128082" providerId="ADAL" clId="{451BAC58-0EA8-4F63-8CEA-D814B48951F3}" dt="2024-12-03T10:09:07.555" v="7283"/>
          <ac:spMkLst>
            <pc:docMk/>
            <pc:sldMk cId="626306548" sldId="2147473691"/>
            <ac:spMk id="38" creationId="{1EAD09F3-95DA-5CA6-2165-B587814142C1}"/>
          </ac:spMkLst>
        </pc:spChg>
        <pc:spChg chg="add del mod ord">
          <ac:chgData name="Androleit, Sofia" userId="a235e272-1198-4b45-ad6e-d78819128082" providerId="ADAL" clId="{451BAC58-0EA8-4F63-8CEA-D814B48951F3}" dt="2024-12-03T11:39:37.752" v="18543"/>
          <ac:spMkLst>
            <pc:docMk/>
            <pc:sldMk cId="626306548" sldId="2147473691"/>
            <ac:spMk id="39" creationId="{E39C1245-E9A9-F7AB-0093-DC063E14D02F}"/>
          </ac:spMkLst>
        </pc:spChg>
        <pc:spChg chg="add del mod modVis">
          <ac:chgData name="Androleit, Sofia" userId="a235e272-1198-4b45-ad6e-d78819128082" providerId="ADAL" clId="{451BAC58-0EA8-4F63-8CEA-D814B48951F3}" dt="2024-12-03T10:09:08.340" v="7479"/>
          <ac:spMkLst>
            <pc:docMk/>
            <pc:sldMk cId="626306548" sldId="2147473691"/>
            <ac:spMk id="40" creationId="{BE08460B-A50A-8227-9292-A85D14C6E651}"/>
          </ac:spMkLst>
        </pc:spChg>
        <pc:spChg chg="add mod ord">
          <ac:chgData name="Androleit, Sofia" userId="a235e272-1198-4b45-ad6e-d78819128082" providerId="ADAL" clId="{451BAC58-0EA8-4F63-8CEA-D814B48951F3}" dt="2024-12-03T11:44:28.562" v="19666" actId="948"/>
          <ac:spMkLst>
            <pc:docMk/>
            <pc:sldMk cId="626306548" sldId="2147473691"/>
            <ac:spMk id="41" creationId="{48577290-06AC-1C4E-83D0-2006E16866A8}"/>
          </ac:spMkLst>
        </pc:spChg>
        <pc:spChg chg="add del mod ord">
          <ac:chgData name="Androleit, Sofia" userId="a235e272-1198-4b45-ad6e-d78819128082" providerId="ADAL" clId="{451BAC58-0EA8-4F63-8CEA-D814B48951F3}" dt="2024-12-03T10:09:48.419" v="10682" actId="20577"/>
          <ac:spMkLst>
            <pc:docMk/>
            <pc:sldMk cId="626306548" sldId="2147473691"/>
            <ac:spMk id="42" creationId="{0272B5F5-14A8-B73E-76D7-AB573FA4A72D}"/>
          </ac:spMkLst>
        </pc:spChg>
        <pc:spChg chg="add del mod modVis">
          <ac:chgData name="Androleit, Sofia" userId="a235e272-1198-4b45-ad6e-d78819128082" providerId="ADAL" clId="{451BAC58-0EA8-4F63-8CEA-D814B48951F3}" dt="2024-12-03T10:09:48.419" v="10671" actId="962"/>
          <ac:spMkLst>
            <pc:docMk/>
            <pc:sldMk cId="626306548" sldId="2147473691"/>
            <ac:spMk id="43" creationId="{30A587E6-6C03-1C31-27CC-146AA4BE577F}"/>
          </ac:spMkLst>
        </pc:spChg>
        <pc:spChg chg="add del mod modVis">
          <ac:chgData name="Androleit, Sofia" userId="a235e272-1198-4b45-ad6e-d78819128082" providerId="ADAL" clId="{451BAC58-0EA8-4F63-8CEA-D814B48951F3}" dt="2024-12-03T10:10:19.494" v="11279"/>
          <ac:spMkLst>
            <pc:docMk/>
            <pc:sldMk cId="626306548" sldId="2147473691"/>
            <ac:spMk id="44" creationId="{BFAB222E-5081-3520-ADAB-4CFE617DF9FF}"/>
          </ac:spMkLst>
        </pc:spChg>
        <pc:spChg chg="add del mod modVis">
          <ac:chgData name="Androleit, Sofia" userId="a235e272-1198-4b45-ad6e-d78819128082" providerId="ADAL" clId="{451BAC58-0EA8-4F63-8CEA-D814B48951F3}" dt="2024-12-03T10:43:35.763" v="15572"/>
          <ac:spMkLst>
            <pc:docMk/>
            <pc:sldMk cId="626306548" sldId="2147473691"/>
            <ac:spMk id="45" creationId="{45045859-A60B-F56A-6246-B634E5D5340C}"/>
          </ac:spMkLst>
        </pc:spChg>
        <pc:spChg chg="add del mod ord">
          <ac:chgData name="Androleit, Sofia" userId="a235e272-1198-4b45-ad6e-d78819128082" providerId="ADAL" clId="{451BAC58-0EA8-4F63-8CEA-D814B48951F3}" dt="2024-12-03T11:39:48.412" v="19019"/>
          <ac:spMkLst>
            <pc:docMk/>
            <pc:sldMk cId="626306548" sldId="2147473691"/>
            <ac:spMk id="46" creationId="{36552EFA-4F40-31F0-F900-E0C8496299BD}"/>
          </ac:spMkLst>
        </pc:spChg>
        <pc:spChg chg="add del mod modVis">
          <ac:chgData name="Androleit, Sofia" userId="a235e272-1198-4b45-ad6e-d78819128082" providerId="ADAL" clId="{451BAC58-0EA8-4F63-8CEA-D814B48951F3}" dt="2024-12-03T11:39:44.721" v="18954"/>
          <ac:spMkLst>
            <pc:docMk/>
            <pc:sldMk cId="626306548" sldId="2147473691"/>
            <ac:spMk id="47" creationId="{6411486D-5D30-A30A-1712-E46D2E9E4FE2}"/>
          </ac:spMkLst>
        </pc:spChg>
        <pc:graphicFrameChg chg="mod">
          <ac:chgData name="Androleit, Sofia" userId="a235e272-1198-4b45-ad6e-d78819128082" providerId="ADAL" clId="{451BAC58-0EA8-4F63-8CEA-D814B48951F3}" dt="2024-12-03T11:44:28.608" v="19705"/>
          <ac:graphicFrameMkLst>
            <pc:docMk/>
            <pc:sldMk cId="626306548" sldId="2147473691"/>
            <ac:graphicFrameMk id="6" creationId="{56028E92-FE70-7F3A-1143-B30D5BE90A20}"/>
          </ac:graphicFrameMkLst>
        </pc:graphicFrameChg>
      </pc:sldChg>
      <pc:sldChg chg="addSp delSp modSp del mod modTransition">
        <pc:chgData name="Androleit, Sofia" userId="a235e272-1198-4b45-ad6e-d78819128082" providerId="ADAL" clId="{451BAC58-0EA8-4F63-8CEA-D814B48951F3}" dt="2024-12-03T10:09:12.487" v="7504" actId="2696"/>
        <pc:sldMkLst>
          <pc:docMk/>
          <pc:sldMk cId="1721302949" sldId="2147473692"/>
        </pc:sldMkLst>
        <pc:spChg chg="mod ord">
          <ac:chgData name="Androleit, Sofia" userId="a235e272-1198-4b45-ad6e-d78819128082" providerId="ADAL" clId="{451BAC58-0EA8-4F63-8CEA-D814B48951F3}" dt="2024-12-03T10:09:08.293" v="7432" actId="948"/>
          <ac:spMkLst>
            <pc:docMk/>
            <pc:sldMk cId="1721302949" sldId="2147473692"/>
            <ac:spMk id="2" creationId="{419A0FBB-9F69-06E6-7FB9-876FE6695F32}"/>
          </ac:spMkLst>
        </pc:spChg>
        <pc:spChg chg="mod ord">
          <ac:chgData name="Androleit, Sofia" userId="a235e272-1198-4b45-ad6e-d78819128082" providerId="ADAL" clId="{451BAC58-0EA8-4F63-8CEA-D814B48951F3}" dt="2024-12-03T10:08:23.343" v="5435"/>
          <ac:spMkLst>
            <pc:docMk/>
            <pc:sldMk cId="1721302949" sldId="2147473692"/>
            <ac:spMk id="3" creationId="{DE5862B4-95A9-EBF7-A0A0-D186060D49A4}"/>
          </ac:spMkLst>
        </pc:spChg>
        <pc:spChg chg="add del mod modVis">
          <ac:chgData name="Androleit, Sofia" userId="a235e272-1198-4b45-ad6e-d78819128082" providerId="ADAL" clId="{451BAC58-0EA8-4F63-8CEA-D814B48951F3}" dt="2024-12-03T10:06:23.187" v="530"/>
          <ac:spMkLst>
            <pc:docMk/>
            <pc:sldMk cId="1721302949" sldId="2147473692"/>
            <ac:spMk id="4" creationId="{0C652666-0141-29F3-9484-E6AA240B4A0B}"/>
          </ac:spMkLst>
        </pc:spChg>
        <pc:spChg chg="add del mod ord">
          <ac:chgData name="Androleit, Sofia" userId="a235e272-1198-4b45-ad6e-d78819128082" providerId="ADAL" clId="{451BAC58-0EA8-4F63-8CEA-D814B48951F3}" dt="2024-12-03T10:07:16.715" v="1074"/>
          <ac:spMkLst>
            <pc:docMk/>
            <pc:sldMk cId="1721302949" sldId="2147473692"/>
            <ac:spMk id="5" creationId="{DD371F0E-EF89-75B1-18A5-3D5396EFC096}"/>
          </ac:spMkLst>
        </pc:spChg>
        <pc:spChg chg="add del mod ord">
          <ac:chgData name="Androleit, Sofia" userId="a235e272-1198-4b45-ad6e-d78819128082" providerId="ADAL" clId="{451BAC58-0EA8-4F63-8CEA-D814B48951F3}" dt="2024-12-03T10:07:17.061" v="1307"/>
          <ac:spMkLst>
            <pc:docMk/>
            <pc:sldMk cId="1721302949" sldId="2147473692"/>
            <ac:spMk id="7" creationId="{6956BC3A-7282-8BE4-92CC-3552014DF03F}"/>
          </ac:spMkLst>
        </pc:spChg>
        <pc:spChg chg="add del mod ord">
          <ac:chgData name="Androleit, Sofia" userId="a235e272-1198-4b45-ad6e-d78819128082" providerId="ADAL" clId="{451BAC58-0EA8-4F63-8CEA-D814B48951F3}" dt="2024-12-03T10:07:18.084" v="1543"/>
          <ac:spMkLst>
            <pc:docMk/>
            <pc:sldMk cId="1721302949" sldId="2147473692"/>
            <ac:spMk id="8" creationId="{AAAF69DA-F0A3-CFA3-834A-C6CDF3A2632B}"/>
          </ac:spMkLst>
        </pc:spChg>
        <pc:spChg chg="add mod ord">
          <ac:chgData name="Androleit, Sofia" userId="a235e272-1198-4b45-ad6e-d78819128082" providerId="ADAL" clId="{451BAC58-0EA8-4F63-8CEA-D814B48951F3}" dt="2024-12-03T10:09:08.152" v="7308" actId="948"/>
          <ac:spMkLst>
            <pc:docMk/>
            <pc:sldMk cId="1721302949" sldId="2147473692"/>
            <ac:spMk id="9" creationId="{59EF239F-A39A-0F26-1692-3D4E7A6386E2}"/>
          </ac:spMkLst>
        </pc:spChg>
        <pc:spChg chg="del mod ord">
          <ac:chgData name="Androleit, Sofia" userId="a235e272-1198-4b45-ad6e-d78819128082" providerId="ADAL" clId="{451BAC58-0EA8-4F63-8CEA-D814B48951F3}" dt="2024-12-03T10:07:14.046" v="831"/>
          <ac:spMkLst>
            <pc:docMk/>
            <pc:sldMk cId="1721302949" sldId="2147473692"/>
            <ac:spMk id="10" creationId="{F96B37CD-7691-6596-57AE-9E3D8023B7CE}"/>
          </ac:spMkLst>
        </pc:spChg>
        <pc:spChg chg="add del mod ord">
          <ac:chgData name="Androleit, Sofia" userId="a235e272-1198-4b45-ad6e-d78819128082" providerId="ADAL" clId="{451BAC58-0EA8-4F63-8CEA-D814B48951F3}" dt="2024-12-03T10:08:09.232" v="3471"/>
          <ac:spMkLst>
            <pc:docMk/>
            <pc:sldMk cId="1721302949" sldId="2147473692"/>
            <ac:spMk id="11" creationId="{BD10F234-55D2-D534-BA31-B55BAEE50670}"/>
          </ac:spMkLst>
        </pc:spChg>
        <pc:spChg chg="del mod ord">
          <ac:chgData name="Androleit, Sofia" userId="a235e272-1198-4b45-ad6e-d78819128082" providerId="ADAL" clId="{451BAC58-0EA8-4F63-8CEA-D814B48951F3}" dt="2024-12-03T10:08:08.409" v="3248"/>
          <ac:spMkLst>
            <pc:docMk/>
            <pc:sldMk cId="1721302949" sldId="2147473692"/>
            <ac:spMk id="12" creationId="{2467DBFC-EC0B-5184-75B8-28FA96355C32}"/>
          </ac:spMkLst>
        </pc:spChg>
        <pc:spChg chg="add del mod ord">
          <ac:chgData name="Androleit, Sofia" userId="a235e272-1198-4b45-ad6e-d78819128082" providerId="ADAL" clId="{451BAC58-0EA8-4F63-8CEA-D814B48951F3}" dt="2024-12-03T10:08:13.796" v="3717"/>
          <ac:spMkLst>
            <pc:docMk/>
            <pc:sldMk cId="1721302949" sldId="2147473692"/>
            <ac:spMk id="13" creationId="{730C122E-A9A3-B6BE-C595-456717C586F4}"/>
          </ac:spMkLst>
        </pc:spChg>
        <pc:spChg chg="del mod ord">
          <ac:chgData name="Androleit, Sofia" userId="a235e272-1198-4b45-ad6e-d78819128082" providerId="ADAL" clId="{451BAC58-0EA8-4F63-8CEA-D814B48951F3}" dt="2024-12-03T10:09:12.481" v="7503"/>
          <ac:spMkLst>
            <pc:docMk/>
            <pc:sldMk cId="1721302949" sldId="2147473692"/>
            <ac:spMk id="14" creationId="{0DEE01F4-699C-920B-2360-EA88ECB3B011}"/>
          </ac:spMkLst>
        </pc:spChg>
        <pc:spChg chg="add del mod ord">
          <ac:chgData name="Androleit, Sofia" userId="a235e272-1198-4b45-ad6e-d78819128082" providerId="ADAL" clId="{451BAC58-0EA8-4F63-8CEA-D814B48951F3}" dt="2024-12-03T10:08:16.343" v="4120"/>
          <ac:spMkLst>
            <pc:docMk/>
            <pc:sldMk cId="1721302949" sldId="2147473692"/>
            <ac:spMk id="15" creationId="{EC9F30CA-E109-CBE1-E85E-60129DE46E48}"/>
          </ac:spMkLst>
        </pc:spChg>
        <pc:spChg chg="add del mod modVis">
          <ac:chgData name="Androleit, Sofia" userId="a235e272-1198-4b45-ad6e-d78819128082" providerId="ADAL" clId="{451BAC58-0EA8-4F63-8CEA-D814B48951F3}" dt="2024-12-03T10:08:14.176" v="4086"/>
          <ac:spMkLst>
            <pc:docMk/>
            <pc:sldMk cId="1721302949" sldId="2147473692"/>
            <ac:spMk id="16" creationId="{D78C6BF0-B1B9-94BA-3EEC-D02309D3735C}"/>
          </ac:spMkLst>
        </pc:spChg>
        <pc:spChg chg="add mod ord">
          <ac:chgData name="Androleit, Sofia" userId="a235e272-1198-4b45-ad6e-d78819128082" providerId="ADAL" clId="{451BAC58-0EA8-4F63-8CEA-D814B48951F3}" dt="2024-12-03T10:09:08.152" v="7309" actId="948"/>
          <ac:spMkLst>
            <pc:docMk/>
            <pc:sldMk cId="1721302949" sldId="2147473692"/>
            <ac:spMk id="17" creationId="{ACF002E5-8F32-EF78-AC3D-5BA4CF92E6BC}"/>
          </ac:spMkLst>
        </pc:spChg>
        <pc:spChg chg="add del mod modVis">
          <ac:chgData name="Androleit, Sofia" userId="a235e272-1198-4b45-ad6e-d78819128082" providerId="ADAL" clId="{451BAC58-0EA8-4F63-8CEA-D814B48951F3}" dt="2024-12-03T10:08:16.720" v="4489"/>
          <ac:spMkLst>
            <pc:docMk/>
            <pc:sldMk cId="1721302949" sldId="2147473692"/>
            <ac:spMk id="18" creationId="{F37A2B54-914C-EF5A-23B7-A082104C1422}"/>
          </ac:spMkLst>
        </pc:spChg>
        <pc:spChg chg="add del mod ord">
          <ac:chgData name="Androleit, Sofia" userId="a235e272-1198-4b45-ad6e-d78819128082" providerId="ADAL" clId="{451BAC58-0EA8-4F63-8CEA-D814B48951F3}" dt="2024-12-03T10:08:23.280" v="5386"/>
          <ac:spMkLst>
            <pc:docMk/>
            <pc:sldMk cId="1721302949" sldId="2147473692"/>
            <ac:spMk id="19" creationId="{CA9BEA04-257A-8A94-A2BE-0B29210D160A}"/>
          </ac:spMkLst>
        </pc:spChg>
        <pc:spChg chg="mod ord">
          <ac:chgData name="Androleit, Sofia" userId="a235e272-1198-4b45-ad6e-d78819128082" providerId="ADAL" clId="{451BAC58-0EA8-4F63-8CEA-D814B48951F3}" dt="2024-12-03T10:09:08.152" v="7311" actId="948"/>
          <ac:spMkLst>
            <pc:docMk/>
            <pc:sldMk cId="1721302949" sldId="2147473692"/>
            <ac:spMk id="20" creationId="{44843074-266F-6D29-169D-5E8FD29CF476}"/>
          </ac:spMkLst>
        </pc:spChg>
        <pc:spChg chg="add del mod modVis">
          <ac:chgData name="Androleit, Sofia" userId="a235e272-1198-4b45-ad6e-d78819128082" providerId="ADAL" clId="{451BAC58-0EA8-4F63-8CEA-D814B48951F3}" dt="2024-12-03T10:08:20.534" v="5232"/>
          <ac:spMkLst>
            <pc:docMk/>
            <pc:sldMk cId="1721302949" sldId="2147473692"/>
            <ac:spMk id="21" creationId="{52B11753-3575-0B14-8B58-F5CAEA8E2B80}"/>
          </ac:spMkLst>
        </pc:spChg>
        <pc:graphicFrameChg chg="mod">
          <ac:chgData name="Androleit, Sofia" userId="a235e272-1198-4b45-ad6e-d78819128082" providerId="ADAL" clId="{451BAC58-0EA8-4F63-8CEA-D814B48951F3}" dt="2024-12-03T10:09:08.340" v="7489"/>
          <ac:graphicFrameMkLst>
            <pc:docMk/>
            <pc:sldMk cId="1721302949" sldId="2147473692"/>
            <ac:graphicFrameMk id="6" creationId="{56028E92-FE70-7F3A-1143-B30D5BE90A20}"/>
          </ac:graphicFrameMkLst>
        </pc:graphicFrameChg>
      </pc:sldChg>
      <pc:sldChg chg="addSp delSp modSp mod ord">
        <pc:chgData name="Androleit, Sofia" userId="a235e272-1198-4b45-ad6e-d78819128082" providerId="ADAL" clId="{451BAC58-0EA8-4F63-8CEA-D814B48951F3}" dt="2024-12-03T16:29:49.405" v="19952" actId="20577"/>
        <pc:sldMkLst>
          <pc:docMk/>
          <pc:sldMk cId="1537904998" sldId="2147473693"/>
        </pc:sldMkLst>
        <pc:spChg chg="del mod">
          <ac:chgData name="Androleit, Sofia" userId="a235e272-1198-4b45-ad6e-d78819128082" providerId="ADAL" clId="{451BAC58-0EA8-4F63-8CEA-D814B48951F3}" dt="2024-12-03T10:27:39.429" v="13637" actId="478"/>
          <ac:spMkLst>
            <pc:docMk/>
            <pc:sldMk cId="1537904998" sldId="2147473693"/>
            <ac:spMk id="5" creationId="{8BD8A2D2-BAE1-AEC0-9919-306EACA64B9F}"/>
          </ac:spMkLst>
        </pc:spChg>
        <pc:spChg chg="add del mod">
          <ac:chgData name="Androleit, Sofia" userId="a235e272-1198-4b45-ad6e-d78819128082" providerId="ADAL" clId="{451BAC58-0EA8-4F63-8CEA-D814B48951F3}" dt="2024-12-03T10:27:59.943" v="13638" actId="478"/>
          <ac:spMkLst>
            <pc:docMk/>
            <pc:sldMk cId="1537904998" sldId="2147473693"/>
            <ac:spMk id="8" creationId="{29D207FA-20BA-AF96-5429-6DB4B8C3E01C}"/>
          </ac:spMkLst>
        </pc:spChg>
        <pc:graphicFrameChg chg="add mod modGraphic">
          <ac:chgData name="Androleit, Sofia" userId="a235e272-1198-4b45-ad6e-d78819128082" providerId="ADAL" clId="{451BAC58-0EA8-4F63-8CEA-D814B48951F3}" dt="2024-12-03T16:29:49.405" v="19952" actId="20577"/>
          <ac:graphicFrameMkLst>
            <pc:docMk/>
            <pc:sldMk cId="1537904998" sldId="2147473693"/>
            <ac:graphicFrameMk id="2" creationId="{7CB7233D-AA7B-C499-786B-ADE7DA72A9B5}"/>
          </ac:graphicFrameMkLst>
        </pc:graphicFrameChg>
        <pc:graphicFrameChg chg="add mod">
          <ac:chgData name="Androleit, Sofia" userId="a235e272-1198-4b45-ad6e-d78819128082" providerId="ADAL" clId="{451BAC58-0EA8-4F63-8CEA-D814B48951F3}" dt="2024-12-03T10:34:34.146" v="13761"/>
          <ac:graphicFrameMkLst>
            <pc:docMk/>
            <pc:sldMk cId="1537904998" sldId="2147473693"/>
            <ac:graphicFrameMk id="13" creationId="{5C1294EB-952F-6B7C-5A1E-51081734994E}"/>
          </ac:graphicFrameMkLst>
        </pc:graphicFrameChg>
        <pc:picChg chg="add mod">
          <ac:chgData name="Androleit, Sofia" userId="a235e272-1198-4b45-ad6e-d78819128082" providerId="ADAL" clId="{451BAC58-0EA8-4F63-8CEA-D814B48951F3}" dt="2024-12-03T10:33:00.972" v="13691" actId="1076"/>
          <ac:picMkLst>
            <pc:docMk/>
            <pc:sldMk cId="1537904998" sldId="2147473693"/>
            <ac:picMk id="10" creationId="{0BB21104-5DF6-97A2-8DD9-5734BAA8E7AD}"/>
          </ac:picMkLst>
        </pc:picChg>
        <pc:picChg chg="add mod">
          <ac:chgData name="Androleit, Sofia" userId="a235e272-1198-4b45-ad6e-d78819128082" providerId="ADAL" clId="{451BAC58-0EA8-4F63-8CEA-D814B48951F3}" dt="2024-12-03T10:34:06.065" v="13759" actId="14100"/>
          <ac:picMkLst>
            <pc:docMk/>
            <pc:sldMk cId="1537904998" sldId="2147473693"/>
            <ac:picMk id="12" creationId="{48847EDC-B3EC-B7EC-F51E-52AB43140231}"/>
          </ac:picMkLst>
        </pc:picChg>
        <pc:picChg chg="add mod">
          <ac:chgData name="Androleit, Sofia" userId="a235e272-1198-4b45-ad6e-d78819128082" providerId="ADAL" clId="{451BAC58-0EA8-4F63-8CEA-D814B48951F3}" dt="2024-12-03T10:34:34.146" v="13761"/>
          <ac:picMkLst>
            <pc:docMk/>
            <pc:sldMk cId="1537904998" sldId="2147473693"/>
            <ac:picMk id="14" creationId="{8CBDA57F-89B1-969A-DB60-42C30376E432}"/>
          </ac:picMkLst>
        </pc:picChg>
        <pc:picChg chg="add mod">
          <ac:chgData name="Androleit, Sofia" userId="a235e272-1198-4b45-ad6e-d78819128082" providerId="ADAL" clId="{451BAC58-0EA8-4F63-8CEA-D814B48951F3}" dt="2024-12-03T10:34:34.146" v="13761"/>
          <ac:picMkLst>
            <pc:docMk/>
            <pc:sldMk cId="1537904998" sldId="2147473693"/>
            <ac:picMk id="15" creationId="{B2D9599F-94E9-177B-6BF5-FD7FE43CEFF0}"/>
          </ac:picMkLst>
        </pc:picChg>
        <pc:picChg chg="add mod">
          <ac:chgData name="Androleit, Sofia" userId="a235e272-1198-4b45-ad6e-d78819128082" providerId="ADAL" clId="{451BAC58-0EA8-4F63-8CEA-D814B48951F3}" dt="2024-12-03T10:34:46.305" v="13789" actId="1076"/>
          <ac:picMkLst>
            <pc:docMk/>
            <pc:sldMk cId="1537904998" sldId="2147473693"/>
            <ac:picMk id="16" creationId="{40554F20-151C-AFE8-55E0-DF44DFF7929D}"/>
          </ac:picMkLst>
        </pc:picChg>
        <pc:picChg chg="add mod">
          <ac:chgData name="Androleit, Sofia" userId="a235e272-1198-4b45-ad6e-d78819128082" providerId="ADAL" clId="{451BAC58-0EA8-4F63-8CEA-D814B48951F3}" dt="2024-12-03T10:34:46.305" v="13789" actId="1076"/>
          <ac:picMkLst>
            <pc:docMk/>
            <pc:sldMk cId="1537904998" sldId="2147473693"/>
            <ac:picMk id="17" creationId="{CBF7891F-0F85-33CC-55CC-8F7C6157D138}"/>
          </ac:picMkLst>
        </pc:picChg>
        <pc:picChg chg="add mod">
          <ac:chgData name="Androleit, Sofia" userId="a235e272-1198-4b45-ad6e-d78819128082" providerId="ADAL" clId="{451BAC58-0EA8-4F63-8CEA-D814B48951F3}" dt="2024-12-03T10:41:50.035" v="13896" actId="1036"/>
          <ac:picMkLst>
            <pc:docMk/>
            <pc:sldMk cId="1537904998" sldId="2147473693"/>
            <ac:picMk id="18" creationId="{DC832C29-103F-8225-FA38-C130C175B1AB}"/>
          </ac:picMkLst>
        </pc:picChg>
        <pc:picChg chg="add del mod">
          <ac:chgData name="Androleit, Sofia" userId="a235e272-1198-4b45-ad6e-d78819128082" providerId="ADAL" clId="{451BAC58-0EA8-4F63-8CEA-D814B48951F3}" dt="2024-12-03T10:35:36.457" v="13802" actId="478"/>
          <ac:picMkLst>
            <pc:docMk/>
            <pc:sldMk cId="1537904998" sldId="2147473693"/>
            <ac:picMk id="19" creationId="{2B39C655-0082-3049-4EBC-6DE3E25D9D30}"/>
          </ac:picMkLst>
        </pc:picChg>
        <pc:picChg chg="add mod">
          <ac:chgData name="Androleit, Sofia" userId="a235e272-1198-4b45-ad6e-d78819128082" providerId="ADAL" clId="{451BAC58-0EA8-4F63-8CEA-D814B48951F3}" dt="2024-12-03T10:42:06.580" v="13923" actId="1035"/>
          <ac:picMkLst>
            <pc:docMk/>
            <pc:sldMk cId="1537904998" sldId="2147473693"/>
            <ac:picMk id="20" creationId="{BAEA7334-4834-AFB2-718E-8837D22C0A88}"/>
          </ac:picMkLst>
        </pc:picChg>
        <pc:picChg chg="add mod">
          <ac:chgData name="Androleit, Sofia" userId="a235e272-1198-4b45-ad6e-d78819128082" providerId="ADAL" clId="{451BAC58-0EA8-4F63-8CEA-D814B48951F3}" dt="2024-12-03T10:42:06.580" v="13923" actId="1035"/>
          <ac:picMkLst>
            <pc:docMk/>
            <pc:sldMk cId="1537904998" sldId="2147473693"/>
            <ac:picMk id="21" creationId="{C2CE7165-A00F-A9FC-F969-A5563BA7118D}"/>
          </ac:picMkLst>
        </pc:picChg>
        <pc:picChg chg="add mod">
          <ac:chgData name="Androleit, Sofia" userId="a235e272-1198-4b45-ad6e-d78819128082" providerId="ADAL" clId="{451BAC58-0EA8-4F63-8CEA-D814B48951F3}" dt="2024-12-03T10:42:06.580" v="13923" actId="1035"/>
          <ac:picMkLst>
            <pc:docMk/>
            <pc:sldMk cId="1537904998" sldId="2147473693"/>
            <ac:picMk id="22" creationId="{C1EFE860-1CA5-C369-C316-A99182FA60A3}"/>
          </ac:picMkLst>
        </pc:picChg>
        <pc:picChg chg="add mod">
          <ac:chgData name="Androleit, Sofia" userId="a235e272-1198-4b45-ad6e-d78819128082" providerId="ADAL" clId="{451BAC58-0EA8-4F63-8CEA-D814B48951F3}" dt="2024-12-03T10:42:06.580" v="13923" actId="1035"/>
          <ac:picMkLst>
            <pc:docMk/>
            <pc:sldMk cId="1537904998" sldId="2147473693"/>
            <ac:picMk id="23" creationId="{5CA7215F-BF72-B849-DB52-6B86C7ADE657}"/>
          </ac:picMkLst>
        </pc:picChg>
        <pc:picChg chg="add mod">
          <ac:chgData name="Androleit, Sofia" userId="a235e272-1198-4b45-ad6e-d78819128082" providerId="ADAL" clId="{451BAC58-0EA8-4F63-8CEA-D814B48951F3}" dt="2024-12-03T10:42:06.580" v="13923" actId="1035"/>
          <ac:picMkLst>
            <pc:docMk/>
            <pc:sldMk cId="1537904998" sldId="2147473693"/>
            <ac:picMk id="24" creationId="{1CDC225A-6B0A-B061-2DEB-B69E86DABCEA}"/>
          </ac:picMkLst>
        </pc:picChg>
        <pc:picChg chg="add del mod">
          <ac:chgData name="Androleit, Sofia" userId="a235e272-1198-4b45-ad6e-d78819128082" providerId="ADAL" clId="{451BAC58-0EA8-4F63-8CEA-D814B48951F3}" dt="2024-12-03T10:35:49.111" v="13803" actId="478"/>
          <ac:picMkLst>
            <pc:docMk/>
            <pc:sldMk cId="1537904998" sldId="2147473693"/>
            <ac:picMk id="25" creationId="{C0A8054F-0EBC-A536-F4C0-D4E0C0B05C72}"/>
          </ac:picMkLst>
        </pc:picChg>
        <pc:picChg chg="add mod">
          <ac:chgData name="Androleit, Sofia" userId="a235e272-1198-4b45-ad6e-d78819128082" providerId="ADAL" clId="{451BAC58-0EA8-4F63-8CEA-D814B48951F3}" dt="2024-12-03T10:42:06.580" v="13923" actId="1035"/>
          <ac:picMkLst>
            <pc:docMk/>
            <pc:sldMk cId="1537904998" sldId="2147473693"/>
            <ac:picMk id="26" creationId="{B3258F5D-8BAD-C856-6746-DB8BB67D2091}"/>
          </ac:picMkLst>
        </pc:picChg>
      </pc:sldChg>
      <pc:sldChg chg="del">
        <pc:chgData name="Androleit, Sofia" userId="a235e272-1198-4b45-ad6e-d78819128082" providerId="ADAL" clId="{451BAC58-0EA8-4F63-8CEA-D814B48951F3}" dt="2024-12-03T10:06:48.025" v="688" actId="2696"/>
        <pc:sldMkLst>
          <pc:docMk/>
          <pc:sldMk cId="1672753343" sldId="2147473696"/>
        </pc:sldMkLst>
      </pc:sldChg>
      <pc:sldChg chg="del">
        <pc:chgData name="Androleit, Sofia" userId="a235e272-1198-4b45-ad6e-d78819128082" providerId="ADAL" clId="{451BAC58-0EA8-4F63-8CEA-D814B48951F3}" dt="2024-12-03T10:06:38.745" v="618" actId="2696"/>
        <pc:sldMkLst>
          <pc:docMk/>
          <pc:sldMk cId="325451897" sldId="2147473697"/>
        </pc:sldMkLst>
      </pc:sldChg>
      <pc:sldChg chg="del">
        <pc:chgData name="Androleit, Sofia" userId="a235e272-1198-4b45-ad6e-d78819128082" providerId="ADAL" clId="{451BAC58-0EA8-4F63-8CEA-D814B48951F3}" dt="2024-12-03T10:06:29.876" v="549" actId="2696"/>
        <pc:sldMkLst>
          <pc:docMk/>
          <pc:sldMk cId="3179912720" sldId="2147473730"/>
        </pc:sldMkLst>
      </pc:sldChg>
      <pc:sldChg chg="del">
        <pc:chgData name="Androleit, Sofia" userId="a235e272-1198-4b45-ad6e-d78819128082" providerId="ADAL" clId="{451BAC58-0EA8-4F63-8CEA-D814B48951F3}" dt="2024-12-03T10:06:20.816" v="2" actId="2696"/>
        <pc:sldMkLst>
          <pc:docMk/>
          <pc:sldMk cId="0" sldId="2147473863"/>
        </pc:sldMkLst>
      </pc:sldChg>
      <pc:sldChg chg="del">
        <pc:chgData name="Androleit, Sofia" userId="a235e272-1198-4b45-ad6e-d78819128082" providerId="ADAL" clId="{451BAC58-0EA8-4F63-8CEA-D814B48951F3}" dt="2024-12-03T10:06:20.816" v="2" actId="2696"/>
        <pc:sldMkLst>
          <pc:docMk/>
          <pc:sldMk cId="87942749" sldId="2147473939"/>
        </pc:sldMkLst>
      </pc:sldChg>
      <pc:sldChg chg="del">
        <pc:chgData name="Androleit, Sofia" userId="a235e272-1198-4b45-ad6e-d78819128082" providerId="ADAL" clId="{451BAC58-0EA8-4F63-8CEA-D814B48951F3}" dt="2024-12-03T10:06:29.876" v="549" actId="2696"/>
        <pc:sldMkLst>
          <pc:docMk/>
          <pc:sldMk cId="3973594572" sldId="2147473957"/>
        </pc:sldMkLst>
      </pc:sldChg>
      <pc:sldChg chg="del">
        <pc:chgData name="Androleit, Sofia" userId="a235e272-1198-4b45-ad6e-d78819128082" providerId="ADAL" clId="{451BAC58-0EA8-4F63-8CEA-D814B48951F3}" dt="2024-12-03T10:06:20.816" v="2" actId="2696"/>
        <pc:sldMkLst>
          <pc:docMk/>
          <pc:sldMk cId="780385437" sldId="2147473973"/>
        </pc:sldMkLst>
      </pc:sldChg>
      <pc:sldChg chg="addSp delSp modSp mod modTransition">
        <pc:chgData name="Androleit, Sofia" userId="a235e272-1198-4b45-ad6e-d78819128082" providerId="ADAL" clId="{451BAC58-0EA8-4F63-8CEA-D814B48951F3}" dt="2024-12-03T11:44:28.608" v="19709"/>
        <pc:sldMkLst>
          <pc:docMk/>
          <pc:sldMk cId="2804903587" sldId="2147473974"/>
        </pc:sldMkLst>
        <pc:spChg chg="mod ord">
          <ac:chgData name="Androleit, Sofia" userId="a235e272-1198-4b45-ad6e-d78819128082" providerId="ADAL" clId="{451BAC58-0EA8-4F63-8CEA-D814B48951F3}" dt="2024-12-03T11:44:28.577" v="19679" actId="948"/>
          <ac:spMkLst>
            <pc:docMk/>
            <pc:sldMk cId="2804903587" sldId="2147473974"/>
            <ac:spMk id="2" creationId="{419A0FBB-9F69-06E6-7FB9-876FE6695F32}"/>
          </ac:spMkLst>
        </pc:spChg>
        <pc:spChg chg="mod ord">
          <ac:chgData name="Androleit, Sofia" userId="a235e272-1198-4b45-ad6e-d78819128082" providerId="ADAL" clId="{451BAC58-0EA8-4F63-8CEA-D814B48951F3}" dt="2024-12-03T11:30:41.326" v="17802"/>
          <ac:spMkLst>
            <pc:docMk/>
            <pc:sldMk cId="2804903587" sldId="2147473974"/>
            <ac:spMk id="3" creationId="{DE5862B4-95A9-EBF7-A0A0-D186060D49A4}"/>
          </ac:spMkLst>
        </pc:spChg>
        <pc:spChg chg="del mod ord">
          <ac:chgData name="Androleit, Sofia" userId="a235e272-1198-4b45-ad6e-d78819128082" providerId="ADAL" clId="{451BAC58-0EA8-4F63-8CEA-D814B48951F3}" dt="2024-12-03T10:07:14.140" v="869"/>
          <ac:spMkLst>
            <pc:docMk/>
            <pc:sldMk cId="2804903587" sldId="2147473974"/>
            <ac:spMk id="4" creationId="{F9FD5FD4-FFE2-8197-20F1-8FDE7E329740}"/>
          </ac:spMkLst>
        </pc:spChg>
        <pc:spChg chg="add del mod modVis">
          <ac:chgData name="Androleit, Sofia" userId="a235e272-1198-4b45-ad6e-d78819128082" providerId="ADAL" clId="{451BAC58-0EA8-4F63-8CEA-D814B48951F3}" dt="2024-12-03T10:06:23.187" v="538"/>
          <ac:spMkLst>
            <pc:docMk/>
            <pc:sldMk cId="2804903587" sldId="2147473974"/>
            <ac:spMk id="5" creationId="{EBB65CA2-04F8-250F-323C-5619D4DFA835}"/>
          </ac:spMkLst>
        </pc:spChg>
        <pc:spChg chg="del mod ord">
          <ac:chgData name="Androleit, Sofia" userId="a235e272-1198-4b45-ad6e-d78819128082" providerId="ADAL" clId="{451BAC58-0EA8-4F63-8CEA-D814B48951F3}" dt="2024-12-03T10:08:08.488" v="3281"/>
          <ac:spMkLst>
            <pc:docMk/>
            <pc:sldMk cId="2804903587" sldId="2147473974"/>
            <ac:spMk id="7" creationId="{EE072527-8F2A-7213-73B3-BC04E249DF60}"/>
          </ac:spMkLst>
        </pc:spChg>
        <pc:spChg chg="add del mod ord">
          <ac:chgData name="Androleit, Sofia" userId="a235e272-1198-4b45-ad6e-d78819128082" providerId="ADAL" clId="{451BAC58-0EA8-4F63-8CEA-D814B48951F3}" dt="2024-12-03T10:07:16.794" v="1112"/>
          <ac:spMkLst>
            <pc:docMk/>
            <pc:sldMk cId="2804903587" sldId="2147473974"/>
            <ac:spMk id="8" creationId="{2CA219F8-C248-25E2-25BD-D7635CFBE43E}"/>
          </ac:spMkLst>
        </pc:spChg>
        <pc:spChg chg="del mod ord">
          <ac:chgData name="Androleit, Sofia" userId="a235e272-1198-4b45-ad6e-d78819128082" providerId="ADAL" clId="{451BAC58-0EA8-4F63-8CEA-D814B48951F3}" dt="2024-12-03T10:09:12.538" v="7557"/>
          <ac:spMkLst>
            <pc:docMk/>
            <pc:sldMk cId="2804903587" sldId="2147473974"/>
            <ac:spMk id="9" creationId="{0B66904B-F804-C311-4207-9080D3B2E786}"/>
          </ac:spMkLst>
        </pc:spChg>
        <pc:spChg chg="add del mod ord">
          <ac:chgData name="Androleit, Sofia" userId="a235e272-1198-4b45-ad6e-d78819128082" providerId="ADAL" clId="{451BAC58-0EA8-4F63-8CEA-D814B48951F3}" dt="2024-12-03T10:07:17.141" v="1345"/>
          <ac:spMkLst>
            <pc:docMk/>
            <pc:sldMk cId="2804903587" sldId="2147473974"/>
            <ac:spMk id="10" creationId="{52EA0593-6FE3-3830-76D0-E365C277DC22}"/>
          </ac:spMkLst>
        </pc:spChg>
        <pc:spChg chg="add del mod ord">
          <ac:chgData name="Androleit, Sofia" userId="a235e272-1198-4b45-ad6e-d78819128082" providerId="ADAL" clId="{451BAC58-0EA8-4F63-8CEA-D814B48951F3}" dt="2024-12-03T10:07:18.178" v="1581"/>
          <ac:spMkLst>
            <pc:docMk/>
            <pc:sldMk cId="2804903587" sldId="2147473974"/>
            <ac:spMk id="11" creationId="{E150BF9E-2B62-EDFD-41CB-5F429BBCAC76}"/>
          </ac:spMkLst>
        </pc:spChg>
        <pc:spChg chg="add mod ord">
          <ac:chgData name="Androleit, Sofia" userId="a235e272-1198-4b45-ad6e-d78819128082" providerId="ADAL" clId="{451BAC58-0EA8-4F63-8CEA-D814B48951F3}" dt="2024-12-03T11:44:28.545" v="19655" actId="948"/>
          <ac:spMkLst>
            <pc:docMk/>
            <pc:sldMk cId="2804903587" sldId="2147473974"/>
            <ac:spMk id="12" creationId="{DCD1E074-8062-E817-D54D-718DE566567D}"/>
          </ac:spMkLst>
        </pc:spChg>
        <pc:spChg chg="add del mod ord">
          <ac:chgData name="Androleit, Sofia" userId="a235e272-1198-4b45-ad6e-d78819128082" providerId="ADAL" clId="{451BAC58-0EA8-4F63-8CEA-D814B48951F3}" dt="2024-12-03T10:07:26.533" v="2016"/>
          <ac:spMkLst>
            <pc:docMk/>
            <pc:sldMk cId="2804903587" sldId="2147473974"/>
            <ac:spMk id="13" creationId="{DC4F56C7-D504-8D3B-B5B2-AC6D67C73298}"/>
          </ac:spMkLst>
        </pc:spChg>
        <pc:spChg chg="add del mod modVis">
          <ac:chgData name="Androleit, Sofia" userId="a235e272-1198-4b45-ad6e-d78819128082" providerId="ADAL" clId="{451BAC58-0EA8-4F63-8CEA-D814B48951F3}" dt="2024-12-03T10:07:24.205" v="1953"/>
          <ac:spMkLst>
            <pc:docMk/>
            <pc:sldMk cId="2804903587" sldId="2147473974"/>
            <ac:spMk id="14" creationId="{F99207F5-83CD-EFD2-4D0E-CBF72093EB44}"/>
          </ac:spMkLst>
        </pc:spChg>
        <pc:spChg chg="del mod ord">
          <ac:chgData name="Androleit, Sofia" userId="a235e272-1198-4b45-ad6e-d78819128082" providerId="ADAL" clId="{451BAC58-0EA8-4F63-8CEA-D814B48951F3}" dt="2024-12-03T10:08:02.113" v="2751"/>
          <ac:spMkLst>
            <pc:docMk/>
            <pc:sldMk cId="2804903587" sldId="2147473974"/>
            <ac:spMk id="15" creationId="{3EEB5770-D1FB-35BF-B92C-7A0AC46DF245}"/>
          </ac:spMkLst>
        </pc:spChg>
        <pc:spChg chg="add del mod ord">
          <ac:chgData name="Androleit, Sofia" userId="a235e272-1198-4b45-ad6e-d78819128082" providerId="ADAL" clId="{451BAC58-0EA8-4F63-8CEA-D814B48951F3}" dt="2024-12-03T10:07:28.432" v="2199"/>
          <ac:spMkLst>
            <pc:docMk/>
            <pc:sldMk cId="2804903587" sldId="2147473974"/>
            <ac:spMk id="16" creationId="{E8B804EF-FB19-1D2C-8EC6-ACC11C68D31B}"/>
          </ac:spMkLst>
        </pc:spChg>
        <pc:spChg chg="add del mod modVis">
          <ac:chgData name="Androleit, Sofia" userId="a235e272-1198-4b45-ad6e-d78819128082" providerId="ADAL" clId="{451BAC58-0EA8-4F63-8CEA-D814B48951F3}" dt="2024-12-03T10:07:26.674" v="2140"/>
          <ac:spMkLst>
            <pc:docMk/>
            <pc:sldMk cId="2804903587" sldId="2147473974"/>
            <ac:spMk id="17" creationId="{AB66AB6B-2306-A48D-6DFD-354E2820F05E}"/>
          </ac:spMkLst>
        </pc:spChg>
        <pc:spChg chg="add del mod ord">
          <ac:chgData name="Androleit, Sofia" userId="a235e272-1198-4b45-ad6e-d78819128082" providerId="ADAL" clId="{451BAC58-0EA8-4F63-8CEA-D814B48951F3}" dt="2024-12-03T10:07:45.090" v="2381"/>
          <ac:spMkLst>
            <pc:docMk/>
            <pc:sldMk cId="2804903587" sldId="2147473974"/>
            <ac:spMk id="18" creationId="{F6D04BF5-CA94-11A8-CFF4-04BF99BE9358}"/>
          </ac:spMkLst>
        </pc:spChg>
        <pc:spChg chg="add del mod modVis">
          <ac:chgData name="Androleit, Sofia" userId="a235e272-1198-4b45-ad6e-d78819128082" providerId="ADAL" clId="{451BAC58-0EA8-4F63-8CEA-D814B48951F3}" dt="2024-12-03T10:07:28.573" v="2323"/>
          <ac:spMkLst>
            <pc:docMk/>
            <pc:sldMk cId="2804903587" sldId="2147473974"/>
            <ac:spMk id="19" creationId="{342AD8B3-E397-FE2C-25EC-62662348E162}"/>
          </ac:spMkLst>
        </pc:spChg>
        <pc:spChg chg="del mod ord">
          <ac:chgData name="Androleit, Sofia" userId="a235e272-1198-4b45-ad6e-d78819128082" providerId="ADAL" clId="{451BAC58-0EA8-4F63-8CEA-D814B48951F3}" dt="2024-12-03T10:09:20.430" v="7837"/>
          <ac:spMkLst>
            <pc:docMk/>
            <pc:sldMk cId="2804903587" sldId="2147473974"/>
            <ac:spMk id="20" creationId="{4C7D4EF1-5EFF-2277-9AC7-DAD3A0F0F1A4}"/>
          </ac:spMkLst>
        </pc:spChg>
        <pc:spChg chg="del mod ord">
          <ac:chgData name="Androleit, Sofia" userId="a235e272-1198-4b45-ad6e-d78819128082" providerId="ADAL" clId="{451BAC58-0EA8-4F63-8CEA-D814B48951F3}" dt="2024-12-03T10:07:24.063" v="1829"/>
          <ac:spMkLst>
            <pc:docMk/>
            <pc:sldMk cId="2804903587" sldId="2147473974"/>
            <ac:spMk id="21" creationId="{D8D1A18E-A0DF-23DA-ADF7-4654EA917E83}"/>
          </ac:spMkLst>
        </pc:spChg>
        <pc:spChg chg="add del mod ord">
          <ac:chgData name="Androleit, Sofia" userId="a235e272-1198-4b45-ad6e-d78819128082" providerId="ADAL" clId="{451BAC58-0EA8-4F63-8CEA-D814B48951F3}" dt="2024-12-03T10:07:47.474" v="2567"/>
          <ac:spMkLst>
            <pc:docMk/>
            <pc:sldMk cId="2804903587" sldId="2147473974"/>
            <ac:spMk id="22" creationId="{2E5F5DCB-1D2D-ED1C-ED47-D88A44F5AA47}"/>
          </ac:spMkLst>
        </pc:spChg>
        <pc:spChg chg="add del mod modVis">
          <ac:chgData name="Androleit, Sofia" userId="a235e272-1198-4b45-ad6e-d78819128082" providerId="ADAL" clId="{451BAC58-0EA8-4F63-8CEA-D814B48951F3}" dt="2024-12-03T10:07:45.255" v="2505"/>
          <ac:spMkLst>
            <pc:docMk/>
            <pc:sldMk cId="2804903587" sldId="2147473974"/>
            <ac:spMk id="23" creationId="{5786AB38-DCA9-0F69-795B-68108D5EAAF8}"/>
          </ac:spMkLst>
        </pc:spChg>
        <pc:spChg chg="add mod ord">
          <ac:chgData name="Androleit, Sofia" userId="a235e272-1198-4b45-ad6e-d78819128082" providerId="ADAL" clId="{451BAC58-0EA8-4F63-8CEA-D814B48951F3}" dt="2024-12-03T11:44:28.545" v="19657" actId="948"/>
          <ac:spMkLst>
            <pc:docMk/>
            <pc:sldMk cId="2804903587" sldId="2147473974"/>
            <ac:spMk id="24" creationId="{9C4303EB-8BAB-8239-DC2B-D738277CCD67}"/>
          </ac:spMkLst>
        </pc:spChg>
        <pc:spChg chg="add del mod modVis">
          <ac:chgData name="Androleit, Sofia" userId="a235e272-1198-4b45-ad6e-d78819128082" providerId="ADAL" clId="{451BAC58-0EA8-4F63-8CEA-D814B48951F3}" dt="2024-12-03T10:07:47.631" v="2691"/>
          <ac:spMkLst>
            <pc:docMk/>
            <pc:sldMk cId="2804903587" sldId="2147473974"/>
            <ac:spMk id="25" creationId="{461EF049-CE48-60E6-71F6-313ED0665145}"/>
          </ac:spMkLst>
        </pc:spChg>
        <pc:spChg chg="add del mod ord">
          <ac:chgData name="Androleit, Sofia" userId="a235e272-1198-4b45-ad6e-d78819128082" providerId="ADAL" clId="{451BAC58-0EA8-4F63-8CEA-D814B48951F3}" dt="2024-12-03T10:08:04.334" v="2937"/>
          <ac:spMkLst>
            <pc:docMk/>
            <pc:sldMk cId="2804903587" sldId="2147473974"/>
            <ac:spMk id="26" creationId="{D00B9700-495C-43F0-4F0B-D146870A9F14}"/>
          </ac:spMkLst>
        </pc:spChg>
        <pc:spChg chg="add del mod modVis">
          <ac:chgData name="Androleit, Sofia" userId="a235e272-1198-4b45-ad6e-d78819128082" providerId="ADAL" clId="{451BAC58-0EA8-4F63-8CEA-D814B48951F3}" dt="2024-12-03T10:08:02.255" v="2874"/>
          <ac:spMkLst>
            <pc:docMk/>
            <pc:sldMk cId="2804903587" sldId="2147473974"/>
            <ac:spMk id="27" creationId="{7150CE09-DF8E-E84C-B7A6-4FDA995B0005}"/>
          </ac:spMkLst>
        </pc:spChg>
        <pc:spChg chg="add del mod ord">
          <ac:chgData name="Androleit, Sofia" userId="a235e272-1198-4b45-ad6e-d78819128082" providerId="ADAL" clId="{451BAC58-0EA8-4F63-8CEA-D814B48951F3}" dt="2024-12-03T10:08:05.100" v="3112"/>
          <ac:spMkLst>
            <pc:docMk/>
            <pc:sldMk cId="2804903587" sldId="2147473974"/>
            <ac:spMk id="28" creationId="{E6780CEF-2087-37F3-D059-301AA018F7E8}"/>
          </ac:spMkLst>
        </pc:spChg>
        <pc:spChg chg="add del mod modVis">
          <ac:chgData name="Androleit, Sofia" userId="a235e272-1198-4b45-ad6e-d78819128082" providerId="ADAL" clId="{451BAC58-0EA8-4F63-8CEA-D814B48951F3}" dt="2024-12-03T10:08:04.475" v="3060"/>
          <ac:spMkLst>
            <pc:docMk/>
            <pc:sldMk cId="2804903587" sldId="2147473974"/>
            <ac:spMk id="29" creationId="{40783358-FBF5-AB6A-0869-9F8640C5AF8B}"/>
          </ac:spMkLst>
        </pc:spChg>
        <pc:spChg chg="add del mod ord">
          <ac:chgData name="Androleit, Sofia" userId="a235e272-1198-4b45-ad6e-d78819128082" providerId="ADAL" clId="{451BAC58-0EA8-4F63-8CEA-D814B48951F3}" dt="2024-12-03T11:30:41.184" v="17774"/>
          <ac:spMkLst>
            <pc:docMk/>
            <pc:sldMk cId="2804903587" sldId="2147473974"/>
            <ac:spMk id="30" creationId="{32FC8296-7B88-9153-A0FF-478CDFA9895E}"/>
          </ac:spMkLst>
        </pc:spChg>
        <pc:spChg chg="add del mod modVis">
          <ac:chgData name="Androleit, Sofia" userId="a235e272-1198-4b45-ad6e-d78819128082" providerId="ADAL" clId="{451BAC58-0EA8-4F63-8CEA-D814B48951F3}" dt="2024-12-03T10:08:05.242" v="3235"/>
          <ac:spMkLst>
            <pc:docMk/>
            <pc:sldMk cId="2804903587" sldId="2147473974"/>
            <ac:spMk id="31" creationId="{26032B0D-2626-52EE-893E-62A1D1C3B6E9}"/>
          </ac:spMkLst>
        </pc:spChg>
        <pc:spChg chg="add del mod ord">
          <ac:chgData name="Androleit, Sofia" userId="a235e272-1198-4b45-ad6e-d78819128082" providerId="ADAL" clId="{451BAC58-0EA8-4F63-8CEA-D814B48951F3}" dt="2024-12-03T10:08:09.305" v="3504"/>
          <ac:spMkLst>
            <pc:docMk/>
            <pc:sldMk cId="2804903587" sldId="2147473974"/>
            <ac:spMk id="32" creationId="{3BA3DE70-CC31-4A59-EC68-AABA2DC32627}"/>
          </ac:spMkLst>
        </pc:spChg>
        <pc:spChg chg="add del mod ord">
          <ac:chgData name="Androleit, Sofia" userId="a235e272-1198-4b45-ad6e-d78819128082" providerId="ADAL" clId="{451BAC58-0EA8-4F63-8CEA-D814B48951F3}" dt="2024-12-03T10:08:13.941" v="3827"/>
          <ac:spMkLst>
            <pc:docMk/>
            <pc:sldMk cId="2804903587" sldId="2147473974"/>
            <ac:spMk id="33" creationId="{A80EA941-0BDF-D8E6-97D9-57EB589EA58A}"/>
          </ac:spMkLst>
        </pc:spChg>
        <pc:spChg chg="add del mod ord">
          <ac:chgData name="Androleit, Sofia" userId="a235e272-1198-4b45-ad6e-d78819128082" providerId="ADAL" clId="{451BAC58-0EA8-4F63-8CEA-D814B48951F3}" dt="2024-12-03T10:08:16.485" v="4230"/>
          <ac:spMkLst>
            <pc:docMk/>
            <pc:sldMk cId="2804903587" sldId="2147473974"/>
            <ac:spMk id="34" creationId="{FA569534-9D3F-6714-0EB2-D65C9822A75F}"/>
          </ac:spMkLst>
        </pc:spChg>
        <pc:spChg chg="add del mod modVis">
          <ac:chgData name="Androleit, Sofia" userId="a235e272-1198-4b45-ad6e-d78819128082" providerId="ADAL" clId="{451BAC58-0EA8-4F63-8CEA-D814B48951F3}" dt="2024-12-03T10:08:14.176" v="4094"/>
          <ac:spMkLst>
            <pc:docMk/>
            <pc:sldMk cId="2804903587" sldId="2147473974"/>
            <ac:spMk id="35" creationId="{760B4A47-6FEB-A76E-5A98-AF7CB4385C7D}"/>
          </ac:spMkLst>
        </pc:spChg>
        <pc:spChg chg="add mod ord">
          <ac:chgData name="Androleit, Sofia" userId="a235e272-1198-4b45-ad6e-d78819128082" providerId="ADAL" clId="{451BAC58-0EA8-4F63-8CEA-D814B48951F3}" dt="2024-12-03T11:44:28.545" v="19658" actId="948"/>
          <ac:spMkLst>
            <pc:docMk/>
            <pc:sldMk cId="2804903587" sldId="2147473974"/>
            <ac:spMk id="36" creationId="{3DC18F0A-16EF-0EE4-0AA4-E90D3AE9AEEE}"/>
          </ac:spMkLst>
        </pc:spChg>
        <pc:spChg chg="add del mod modVis">
          <ac:chgData name="Androleit, Sofia" userId="a235e272-1198-4b45-ad6e-d78819128082" providerId="ADAL" clId="{451BAC58-0EA8-4F63-8CEA-D814B48951F3}" dt="2024-12-03T10:08:16.720" v="4497"/>
          <ac:spMkLst>
            <pc:docMk/>
            <pc:sldMk cId="2804903587" sldId="2147473974"/>
            <ac:spMk id="37" creationId="{D692356A-B4AA-5567-CB74-25184B07A3CE}"/>
          </ac:spMkLst>
        </pc:spChg>
        <pc:spChg chg="add del mod ord">
          <ac:chgData name="Androleit, Sofia" userId="a235e272-1198-4b45-ad6e-d78819128082" providerId="ADAL" clId="{451BAC58-0EA8-4F63-8CEA-D814B48951F3}" dt="2024-12-03T10:08:23.280" v="5392"/>
          <ac:spMkLst>
            <pc:docMk/>
            <pc:sldMk cId="2804903587" sldId="2147473974"/>
            <ac:spMk id="38" creationId="{320B4480-E738-14FF-0FC0-F85431223FFB}"/>
          </ac:spMkLst>
        </pc:spChg>
        <pc:spChg chg="add del mod modVis">
          <ac:chgData name="Androleit, Sofia" userId="a235e272-1198-4b45-ad6e-d78819128082" providerId="ADAL" clId="{451BAC58-0EA8-4F63-8CEA-D814B48951F3}" dt="2024-12-03T10:08:20.534" v="5240"/>
          <ac:spMkLst>
            <pc:docMk/>
            <pc:sldMk cId="2804903587" sldId="2147473974"/>
            <ac:spMk id="39" creationId="{8085C8BD-975F-6000-7CF5-953DC83E7C46}"/>
          </ac:spMkLst>
        </pc:spChg>
        <pc:spChg chg="add mod ord">
          <ac:chgData name="Androleit, Sofia" userId="a235e272-1198-4b45-ad6e-d78819128082" providerId="ADAL" clId="{451BAC58-0EA8-4F63-8CEA-D814B48951F3}" dt="2024-12-03T11:44:28.545" v="19659" actId="948"/>
          <ac:spMkLst>
            <pc:docMk/>
            <pc:sldMk cId="2804903587" sldId="2147473974"/>
            <ac:spMk id="40" creationId="{A902A09D-0A81-8C72-CD79-5F091DA80DCD}"/>
          </ac:spMkLst>
        </pc:spChg>
        <pc:spChg chg="add del mod ord">
          <ac:chgData name="Androleit, Sofia" userId="a235e272-1198-4b45-ad6e-d78819128082" providerId="ADAL" clId="{451BAC58-0EA8-4F63-8CEA-D814B48951F3}" dt="2024-12-03T10:09:48.394" v="10627" actId="948"/>
          <ac:spMkLst>
            <pc:docMk/>
            <pc:sldMk cId="2804903587" sldId="2147473974"/>
            <ac:spMk id="41" creationId="{0D1BC42F-7C9E-34C7-E987-6F24AA7880AA}"/>
          </ac:spMkLst>
        </pc:spChg>
        <pc:spChg chg="add del mod modVis">
          <ac:chgData name="Androleit, Sofia" userId="a235e272-1198-4b45-ad6e-d78819128082" providerId="ADAL" clId="{451BAC58-0EA8-4F63-8CEA-D814B48951F3}" dt="2024-12-03T10:09:48.394" v="10626" actId="962"/>
          <ac:spMkLst>
            <pc:docMk/>
            <pc:sldMk cId="2804903587" sldId="2147473974"/>
            <ac:spMk id="42" creationId="{207F1C99-6797-779A-CB55-800F67F68935}"/>
          </ac:spMkLst>
        </pc:spChg>
        <pc:spChg chg="add del mod modVis">
          <ac:chgData name="Androleit, Sofia" userId="a235e272-1198-4b45-ad6e-d78819128082" providerId="ADAL" clId="{451BAC58-0EA8-4F63-8CEA-D814B48951F3}" dt="2024-12-03T10:10:19.510" v="11295"/>
          <ac:spMkLst>
            <pc:docMk/>
            <pc:sldMk cId="2804903587" sldId="2147473974"/>
            <ac:spMk id="43" creationId="{15BA92CE-55AB-0E8F-0403-00428C030B62}"/>
          </ac:spMkLst>
        </pc:spChg>
        <pc:spChg chg="add mod ord">
          <ac:chgData name="Androleit, Sofia" userId="a235e272-1198-4b45-ad6e-d78819128082" providerId="ADAL" clId="{451BAC58-0EA8-4F63-8CEA-D814B48951F3}" dt="2024-12-03T10:43:22.450" v="14938" actId="948"/>
          <ac:spMkLst>
            <pc:docMk/>
            <pc:sldMk cId="2804903587" sldId="2147473974"/>
            <ac:spMk id="44" creationId="{B278C368-EA11-B3DE-07E8-A5E397D0A1A8}"/>
          </ac:spMkLst>
        </pc:spChg>
        <pc:spChg chg="add del mod modVis">
          <ac:chgData name="Androleit, Sofia" userId="a235e272-1198-4b45-ad6e-d78819128082" providerId="ADAL" clId="{451BAC58-0EA8-4F63-8CEA-D814B48951F3}" dt="2024-12-03T10:43:22.450" v="14937" actId="962"/>
          <ac:spMkLst>
            <pc:docMk/>
            <pc:sldMk cId="2804903587" sldId="2147473974"/>
            <ac:spMk id="45" creationId="{1C8F787F-AA92-DDBF-8C24-156C04CD5917}"/>
          </ac:spMkLst>
        </pc:spChg>
        <pc:spChg chg="add del mod modVis">
          <ac:chgData name="Androleit, Sofia" userId="a235e272-1198-4b45-ad6e-d78819128082" providerId="ADAL" clId="{451BAC58-0EA8-4F63-8CEA-D814B48951F3}" dt="2024-12-03T10:43:35.778" v="15588"/>
          <ac:spMkLst>
            <pc:docMk/>
            <pc:sldMk cId="2804903587" sldId="2147473974"/>
            <ac:spMk id="46" creationId="{E6F606D9-9894-5432-8375-C2023CFC3942}"/>
          </ac:spMkLst>
        </pc:spChg>
        <pc:spChg chg="add mod ord">
          <ac:chgData name="Androleit, Sofia" userId="a235e272-1198-4b45-ad6e-d78819128082" providerId="ADAL" clId="{451BAC58-0EA8-4F63-8CEA-D814B48951F3}" dt="2024-12-03T11:44:28.545" v="19656" actId="948"/>
          <ac:spMkLst>
            <pc:docMk/>
            <pc:sldMk cId="2804903587" sldId="2147473974"/>
            <ac:spMk id="47" creationId="{BA31C3A6-105D-E49F-051A-13E63F43FF0F}"/>
          </ac:spMkLst>
        </pc:spChg>
        <pc:spChg chg="add del mod modVis">
          <ac:chgData name="Androleit, Sofia" userId="a235e272-1198-4b45-ad6e-d78819128082" providerId="ADAL" clId="{451BAC58-0EA8-4F63-8CEA-D814B48951F3}" dt="2024-12-03T11:30:19.487" v="16327"/>
          <ac:spMkLst>
            <pc:docMk/>
            <pc:sldMk cId="2804903587" sldId="2147473974"/>
            <ac:spMk id="48" creationId="{9F5DA584-5830-62C2-E6D3-D11F83944C6B}"/>
          </ac:spMkLst>
        </pc:spChg>
        <pc:spChg chg="add del mod modVis">
          <ac:chgData name="Androleit, Sofia" userId="a235e272-1198-4b45-ad6e-d78819128082" providerId="ADAL" clId="{451BAC58-0EA8-4F63-8CEA-D814B48951F3}" dt="2024-12-03T11:30:27.621" v="16761"/>
          <ac:spMkLst>
            <pc:docMk/>
            <pc:sldMk cId="2804903587" sldId="2147473974"/>
            <ac:spMk id="49" creationId="{21DF81E1-BCF6-DE27-C679-D1D87409E828}"/>
          </ac:spMkLst>
        </pc:spChg>
        <pc:spChg chg="add del mod modVis">
          <ac:chgData name="Androleit, Sofia" userId="a235e272-1198-4b45-ad6e-d78819128082" providerId="ADAL" clId="{451BAC58-0EA8-4F63-8CEA-D814B48951F3}" dt="2024-12-03T11:30:29.450" v="16999"/>
          <ac:spMkLst>
            <pc:docMk/>
            <pc:sldMk cId="2804903587" sldId="2147473974"/>
            <ac:spMk id="50" creationId="{B90BE60C-5DA6-101F-B6C0-6EBF33218BFE}"/>
          </ac:spMkLst>
        </pc:spChg>
        <pc:spChg chg="add del mod modVis">
          <ac:chgData name="Androleit, Sofia" userId="a235e272-1198-4b45-ad6e-d78819128082" providerId="ADAL" clId="{451BAC58-0EA8-4F63-8CEA-D814B48951F3}" dt="2024-12-03T11:30:32.595" v="17239"/>
          <ac:spMkLst>
            <pc:docMk/>
            <pc:sldMk cId="2804903587" sldId="2147473974"/>
            <ac:spMk id="51" creationId="{7E37DFA9-24CC-C538-998C-BC573E991A57}"/>
          </ac:spMkLst>
        </pc:spChg>
        <pc:spChg chg="add del mod modVis">
          <ac:chgData name="Androleit, Sofia" userId="a235e272-1198-4b45-ad6e-d78819128082" providerId="ADAL" clId="{451BAC58-0EA8-4F63-8CEA-D814B48951F3}" dt="2024-12-03T11:30:34.401" v="17473"/>
          <ac:spMkLst>
            <pc:docMk/>
            <pc:sldMk cId="2804903587" sldId="2147473974"/>
            <ac:spMk id="52" creationId="{58F5836F-A963-E9BD-1B13-BFAB26A70F86}"/>
          </ac:spMkLst>
        </pc:spChg>
        <pc:spChg chg="add del mod modVis">
          <ac:chgData name="Androleit, Sofia" userId="a235e272-1198-4b45-ad6e-d78819128082" providerId="ADAL" clId="{451BAC58-0EA8-4F63-8CEA-D814B48951F3}" dt="2024-12-03T11:30:36.347" v="17710"/>
          <ac:spMkLst>
            <pc:docMk/>
            <pc:sldMk cId="2804903587" sldId="2147473974"/>
            <ac:spMk id="53" creationId="{86152B67-90D5-B81B-6ACE-9780C0C7AF71}"/>
          </ac:spMkLst>
        </pc:spChg>
        <pc:graphicFrameChg chg="mod">
          <ac:chgData name="Androleit, Sofia" userId="a235e272-1198-4b45-ad6e-d78819128082" providerId="ADAL" clId="{451BAC58-0EA8-4F63-8CEA-D814B48951F3}" dt="2024-12-03T11:44:28.608" v="19709"/>
          <ac:graphicFrameMkLst>
            <pc:docMk/>
            <pc:sldMk cId="2804903587" sldId="2147473974"/>
            <ac:graphicFrameMk id="6" creationId="{56028E92-FE70-7F3A-1143-B30D5BE90A20}"/>
          </ac:graphicFrameMkLst>
        </pc:graphicFrameChg>
      </pc:sldChg>
      <pc:sldChg chg="addSp delSp modSp del mod modTransition">
        <pc:chgData name="Androleit, Sofia" userId="a235e272-1198-4b45-ad6e-d78819128082" providerId="ADAL" clId="{451BAC58-0EA8-4F63-8CEA-D814B48951F3}" dt="2024-12-03T11:30:41.027" v="17727" actId="2696"/>
        <pc:sldMkLst>
          <pc:docMk/>
          <pc:sldMk cId="3230806566" sldId="2147473975"/>
        </pc:sldMkLst>
        <pc:spChg chg="mod ord">
          <ac:chgData name="Androleit, Sofia" userId="a235e272-1198-4b45-ad6e-d78819128082" providerId="ADAL" clId="{451BAC58-0EA8-4F63-8CEA-D814B48951F3}" dt="2024-12-03T11:30:36.259" v="17648"/>
          <ac:spMkLst>
            <pc:docMk/>
            <pc:sldMk cId="3230806566" sldId="2147473975"/>
            <ac:spMk id="2" creationId="{419A0FBB-9F69-06E6-7FB9-876FE6695F32}"/>
          </ac:spMkLst>
        </pc:spChg>
        <pc:spChg chg="mod ord">
          <ac:chgData name="Androleit, Sofia" userId="a235e272-1198-4b45-ad6e-d78819128082" providerId="ADAL" clId="{451BAC58-0EA8-4F63-8CEA-D814B48951F3}" dt="2024-12-03T11:30:36.262" v="17650"/>
          <ac:spMkLst>
            <pc:docMk/>
            <pc:sldMk cId="3230806566" sldId="2147473975"/>
            <ac:spMk id="3" creationId="{DE5862B4-95A9-EBF7-A0A0-D186060D49A4}"/>
          </ac:spMkLst>
        </pc:spChg>
        <pc:spChg chg="add del mod modVis">
          <ac:chgData name="Androleit, Sofia" userId="a235e272-1198-4b45-ad6e-d78819128082" providerId="ADAL" clId="{451BAC58-0EA8-4F63-8CEA-D814B48951F3}" dt="2024-12-03T10:06:23.203" v="546"/>
          <ac:spMkLst>
            <pc:docMk/>
            <pc:sldMk cId="3230806566" sldId="2147473975"/>
            <ac:spMk id="4" creationId="{C3A07E12-03A9-72C0-DEC4-EFEF8E487E22}"/>
          </ac:spMkLst>
        </pc:spChg>
        <pc:spChg chg="del mod ord">
          <ac:chgData name="Androleit, Sofia" userId="a235e272-1198-4b45-ad6e-d78819128082" providerId="ADAL" clId="{451BAC58-0EA8-4F63-8CEA-D814B48951F3}" dt="2024-12-03T10:07:14.156" v="879"/>
          <ac:spMkLst>
            <pc:docMk/>
            <pc:sldMk cId="3230806566" sldId="2147473975"/>
            <ac:spMk id="5" creationId="{3C482A7B-1A53-A029-2B38-493914FA0D57}"/>
          </ac:spMkLst>
        </pc:spChg>
        <pc:spChg chg="del mod ord">
          <ac:chgData name="Androleit, Sofia" userId="a235e272-1198-4b45-ad6e-d78819128082" providerId="ADAL" clId="{451BAC58-0EA8-4F63-8CEA-D814B48951F3}" dt="2024-12-03T10:08:02.145" v="2779"/>
          <ac:spMkLst>
            <pc:docMk/>
            <pc:sldMk cId="3230806566" sldId="2147473975"/>
            <ac:spMk id="7" creationId="{7DCF6000-8841-E477-0606-35A00EB1BEEB}"/>
          </ac:spMkLst>
        </pc:spChg>
        <pc:spChg chg="add del mod ord">
          <ac:chgData name="Androleit, Sofia" userId="a235e272-1198-4b45-ad6e-d78819128082" providerId="ADAL" clId="{451BAC58-0EA8-4F63-8CEA-D814B48951F3}" dt="2024-12-03T10:07:16.825" v="1122"/>
          <ac:spMkLst>
            <pc:docMk/>
            <pc:sldMk cId="3230806566" sldId="2147473975"/>
            <ac:spMk id="8" creationId="{3023B7BC-C0DE-AE6F-A1D5-0A82584E0524}"/>
          </ac:spMkLst>
        </pc:spChg>
        <pc:spChg chg="add del mod ord">
          <ac:chgData name="Androleit, Sofia" userId="a235e272-1198-4b45-ad6e-d78819128082" providerId="ADAL" clId="{451BAC58-0EA8-4F63-8CEA-D814B48951F3}" dt="2024-12-03T10:07:17.155" v="1355"/>
          <ac:spMkLst>
            <pc:docMk/>
            <pc:sldMk cId="3230806566" sldId="2147473975"/>
            <ac:spMk id="9" creationId="{15D3C4F5-2CAB-2821-FFF7-C9AF99DA44EF}"/>
          </ac:spMkLst>
        </pc:spChg>
        <pc:spChg chg="add del mod ord">
          <ac:chgData name="Androleit, Sofia" userId="a235e272-1198-4b45-ad6e-d78819128082" providerId="ADAL" clId="{451BAC58-0EA8-4F63-8CEA-D814B48951F3}" dt="2024-12-03T10:07:18.194" v="1591"/>
          <ac:spMkLst>
            <pc:docMk/>
            <pc:sldMk cId="3230806566" sldId="2147473975"/>
            <ac:spMk id="10" creationId="{74427B6C-9B53-CA3B-579C-281A7A9F7F79}"/>
          </ac:spMkLst>
        </pc:spChg>
        <pc:spChg chg="del mod ord">
          <ac:chgData name="Androleit, Sofia" userId="a235e272-1198-4b45-ad6e-d78819128082" providerId="ADAL" clId="{451BAC58-0EA8-4F63-8CEA-D814B48951F3}" dt="2024-12-03T10:08:08.504" v="3290"/>
          <ac:spMkLst>
            <pc:docMk/>
            <pc:sldMk cId="3230806566" sldId="2147473975"/>
            <ac:spMk id="11" creationId="{91D06E5B-9BFA-189E-6A19-B548EFD53BDD}"/>
          </ac:spMkLst>
        </pc:spChg>
        <pc:spChg chg="del mod ord">
          <ac:chgData name="Androleit, Sofia" userId="a235e272-1198-4b45-ad6e-d78819128082" providerId="ADAL" clId="{451BAC58-0EA8-4F63-8CEA-D814B48951F3}" dt="2024-12-03T10:09:12.538" v="7559"/>
          <ac:spMkLst>
            <pc:docMk/>
            <pc:sldMk cId="3230806566" sldId="2147473975"/>
            <ac:spMk id="12" creationId="{8F3A8BF8-BED6-87CF-D534-79D926BB5A38}"/>
          </ac:spMkLst>
        </pc:spChg>
        <pc:spChg chg="add mod ord">
          <ac:chgData name="Androleit, Sofia" userId="a235e272-1198-4b45-ad6e-d78819128082" providerId="ADAL" clId="{451BAC58-0EA8-4F63-8CEA-D814B48951F3}" dt="2024-12-03T11:30:36.264" v="17652"/>
          <ac:spMkLst>
            <pc:docMk/>
            <pc:sldMk cId="3230806566" sldId="2147473975"/>
            <ac:spMk id="13" creationId="{B69D9357-C6CC-78DF-D544-66EF299218E5}"/>
          </ac:spMkLst>
        </pc:spChg>
        <pc:spChg chg="add del mod ord">
          <ac:chgData name="Androleit, Sofia" userId="a235e272-1198-4b45-ad6e-d78819128082" providerId="ADAL" clId="{451BAC58-0EA8-4F63-8CEA-D814B48951F3}" dt="2024-12-03T10:07:26.580" v="2047"/>
          <ac:spMkLst>
            <pc:docMk/>
            <pc:sldMk cId="3230806566" sldId="2147473975"/>
            <ac:spMk id="14" creationId="{35D122D9-3FFF-4501-049B-1AA52D44CFF5}"/>
          </ac:spMkLst>
        </pc:spChg>
        <pc:spChg chg="add del mod modVis">
          <ac:chgData name="Androleit, Sofia" userId="a235e272-1198-4b45-ad6e-d78819128082" providerId="ADAL" clId="{451BAC58-0EA8-4F63-8CEA-D814B48951F3}" dt="2024-12-03T10:07:24.205" v="1959"/>
          <ac:spMkLst>
            <pc:docMk/>
            <pc:sldMk cId="3230806566" sldId="2147473975"/>
            <ac:spMk id="15" creationId="{DC281F7D-0E75-581C-F807-C8AE8B3A28C1}"/>
          </ac:spMkLst>
        </pc:spChg>
        <pc:spChg chg="del mod ord">
          <ac:chgData name="Androleit, Sofia" userId="a235e272-1198-4b45-ad6e-d78819128082" providerId="ADAL" clId="{451BAC58-0EA8-4F63-8CEA-D814B48951F3}" dt="2024-12-03T10:07:24.110" v="1860"/>
          <ac:spMkLst>
            <pc:docMk/>
            <pc:sldMk cId="3230806566" sldId="2147473975"/>
            <ac:spMk id="16" creationId="{B9092F6F-B650-1644-423D-2A73A7121EA3}"/>
          </ac:spMkLst>
        </pc:spChg>
        <pc:spChg chg="del mod ord">
          <ac:chgData name="Androleit, Sofia" userId="a235e272-1198-4b45-ad6e-d78819128082" providerId="ADAL" clId="{451BAC58-0EA8-4F63-8CEA-D814B48951F3}" dt="2024-12-03T10:09:20.455" v="7845"/>
          <ac:spMkLst>
            <pc:docMk/>
            <pc:sldMk cId="3230806566" sldId="2147473975"/>
            <ac:spMk id="17" creationId="{66914EB5-1CB8-18E4-28E5-C9E0ED839672}"/>
          </ac:spMkLst>
        </pc:spChg>
        <pc:spChg chg="add del mod ord">
          <ac:chgData name="Androleit, Sofia" userId="a235e272-1198-4b45-ad6e-d78819128082" providerId="ADAL" clId="{451BAC58-0EA8-4F63-8CEA-D814B48951F3}" dt="2024-12-03T10:07:28.479" v="2230"/>
          <ac:spMkLst>
            <pc:docMk/>
            <pc:sldMk cId="3230806566" sldId="2147473975"/>
            <ac:spMk id="18" creationId="{94380194-62E0-2F89-7B5C-80F1E0A4AB8D}"/>
          </ac:spMkLst>
        </pc:spChg>
        <pc:spChg chg="add del mod modVis">
          <ac:chgData name="Androleit, Sofia" userId="a235e272-1198-4b45-ad6e-d78819128082" providerId="ADAL" clId="{451BAC58-0EA8-4F63-8CEA-D814B48951F3}" dt="2024-12-03T10:07:26.674" v="2146"/>
          <ac:spMkLst>
            <pc:docMk/>
            <pc:sldMk cId="3230806566" sldId="2147473975"/>
            <ac:spMk id="19" creationId="{6C388C1A-3825-F7C5-95ED-2DA4FDAEC9CB}"/>
          </ac:spMkLst>
        </pc:spChg>
        <pc:spChg chg="add del mod ord">
          <ac:chgData name="Androleit, Sofia" userId="a235e272-1198-4b45-ad6e-d78819128082" providerId="ADAL" clId="{451BAC58-0EA8-4F63-8CEA-D814B48951F3}" dt="2024-12-03T10:07:45.146" v="2412"/>
          <ac:spMkLst>
            <pc:docMk/>
            <pc:sldMk cId="3230806566" sldId="2147473975"/>
            <ac:spMk id="20" creationId="{7907EBD5-A26D-3BE9-26BE-43E2B1D9CEB8}"/>
          </ac:spMkLst>
        </pc:spChg>
        <pc:spChg chg="add del mod modVis">
          <ac:chgData name="Androleit, Sofia" userId="a235e272-1198-4b45-ad6e-d78819128082" providerId="ADAL" clId="{451BAC58-0EA8-4F63-8CEA-D814B48951F3}" dt="2024-12-03T10:07:28.573" v="2329"/>
          <ac:spMkLst>
            <pc:docMk/>
            <pc:sldMk cId="3230806566" sldId="2147473975"/>
            <ac:spMk id="21" creationId="{31C47676-98FF-8B1A-F1AD-9FEFA2C31D56}"/>
          </ac:spMkLst>
        </pc:spChg>
        <pc:spChg chg="add del mod ord">
          <ac:chgData name="Androleit, Sofia" userId="a235e272-1198-4b45-ad6e-d78819128082" providerId="ADAL" clId="{451BAC58-0EA8-4F63-8CEA-D814B48951F3}" dt="2024-12-03T10:07:47.521" v="2598"/>
          <ac:spMkLst>
            <pc:docMk/>
            <pc:sldMk cId="3230806566" sldId="2147473975"/>
            <ac:spMk id="22" creationId="{249B3C7A-DC6A-55B9-FB0A-8F867D2E77B8}"/>
          </ac:spMkLst>
        </pc:spChg>
        <pc:spChg chg="add del mod modVis">
          <ac:chgData name="Androleit, Sofia" userId="a235e272-1198-4b45-ad6e-d78819128082" providerId="ADAL" clId="{451BAC58-0EA8-4F63-8CEA-D814B48951F3}" dt="2024-12-03T10:07:45.271" v="2511"/>
          <ac:spMkLst>
            <pc:docMk/>
            <pc:sldMk cId="3230806566" sldId="2147473975"/>
            <ac:spMk id="23" creationId="{D2381E6A-5D83-3DB7-245A-CBC4F85CD03A}"/>
          </ac:spMkLst>
        </pc:spChg>
        <pc:spChg chg="add mod ord">
          <ac:chgData name="Androleit, Sofia" userId="a235e272-1198-4b45-ad6e-d78819128082" providerId="ADAL" clId="{451BAC58-0EA8-4F63-8CEA-D814B48951F3}" dt="2024-12-03T11:30:36.267" v="17656"/>
          <ac:spMkLst>
            <pc:docMk/>
            <pc:sldMk cId="3230806566" sldId="2147473975"/>
            <ac:spMk id="24" creationId="{15760897-152C-9144-B298-0F11B0BFDA98}"/>
          </ac:spMkLst>
        </pc:spChg>
        <pc:spChg chg="add del mod modVis">
          <ac:chgData name="Androleit, Sofia" userId="a235e272-1198-4b45-ad6e-d78819128082" providerId="ADAL" clId="{451BAC58-0EA8-4F63-8CEA-D814B48951F3}" dt="2024-12-03T10:07:47.631" v="2697"/>
          <ac:spMkLst>
            <pc:docMk/>
            <pc:sldMk cId="3230806566" sldId="2147473975"/>
            <ac:spMk id="25" creationId="{25DC43D2-A01F-B356-7247-7CCD6466757D}"/>
          </ac:spMkLst>
        </pc:spChg>
        <pc:spChg chg="add del mod ord">
          <ac:chgData name="Androleit, Sofia" userId="a235e272-1198-4b45-ad6e-d78819128082" providerId="ADAL" clId="{451BAC58-0EA8-4F63-8CEA-D814B48951F3}" dt="2024-12-03T10:08:04.381" v="2965"/>
          <ac:spMkLst>
            <pc:docMk/>
            <pc:sldMk cId="3230806566" sldId="2147473975"/>
            <ac:spMk id="26" creationId="{865F2435-C035-4955-6119-1D2530BD8CF7}"/>
          </ac:spMkLst>
        </pc:spChg>
        <pc:spChg chg="add del mod modVis">
          <ac:chgData name="Androleit, Sofia" userId="a235e272-1198-4b45-ad6e-d78819128082" providerId="ADAL" clId="{451BAC58-0EA8-4F63-8CEA-D814B48951F3}" dt="2024-12-03T10:08:02.255" v="2880"/>
          <ac:spMkLst>
            <pc:docMk/>
            <pc:sldMk cId="3230806566" sldId="2147473975"/>
            <ac:spMk id="27" creationId="{0B27F869-60AC-9D00-0CD3-D6B377732E88}"/>
          </ac:spMkLst>
        </pc:spChg>
        <pc:spChg chg="add del mod ord">
          <ac:chgData name="Androleit, Sofia" userId="a235e272-1198-4b45-ad6e-d78819128082" providerId="ADAL" clId="{451BAC58-0EA8-4F63-8CEA-D814B48951F3}" dt="2024-12-03T10:08:05.147" v="3140"/>
          <ac:spMkLst>
            <pc:docMk/>
            <pc:sldMk cId="3230806566" sldId="2147473975"/>
            <ac:spMk id="28" creationId="{653029EE-67DD-DE63-7B3C-058820544E55}"/>
          </ac:spMkLst>
        </pc:spChg>
        <pc:spChg chg="add del mod modVis">
          <ac:chgData name="Androleit, Sofia" userId="a235e272-1198-4b45-ad6e-d78819128082" providerId="ADAL" clId="{451BAC58-0EA8-4F63-8CEA-D814B48951F3}" dt="2024-12-03T10:08:04.491" v="3066"/>
          <ac:spMkLst>
            <pc:docMk/>
            <pc:sldMk cId="3230806566" sldId="2147473975"/>
            <ac:spMk id="29" creationId="{D44E9FA9-E147-874D-AB48-D319464F1EA3}"/>
          </ac:spMkLst>
        </pc:spChg>
        <pc:spChg chg="add del mod ord">
          <ac:chgData name="Androleit, Sofia" userId="a235e272-1198-4b45-ad6e-d78819128082" providerId="ADAL" clId="{451BAC58-0EA8-4F63-8CEA-D814B48951F3}" dt="2024-12-03T11:30:41.012" v="17726"/>
          <ac:spMkLst>
            <pc:docMk/>
            <pc:sldMk cId="3230806566" sldId="2147473975"/>
            <ac:spMk id="30" creationId="{344B2F7B-BA44-B6D0-D2AD-9943990B2452}"/>
          </ac:spMkLst>
        </pc:spChg>
        <pc:spChg chg="add del mod modVis">
          <ac:chgData name="Androleit, Sofia" userId="a235e272-1198-4b45-ad6e-d78819128082" providerId="ADAL" clId="{451BAC58-0EA8-4F63-8CEA-D814B48951F3}" dt="2024-12-03T10:08:05.242" v="3241"/>
          <ac:spMkLst>
            <pc:docMk/>
            <pc:sldMk cId="3230806566" sldId="2147473975"/>
            <ac:spMk id="31" creationId="{E45E3F74-C2C1-9CC0-E802-8CC2ABC7D83D}"/>
          </ac:spMkLst>
        </pc:spChg>
        <pc:spChg chg="add del mod ord">
          <ac:chgData name="Androleit, Sofia" userId="a235e272-1198-4b45-ad6e-d78819128082" providerId="ADAL" clId="{451BAC58-0EA8-4F63-8CEA-D814B48951F3}" dt="2024-12-03T10:08:09.321" v="3513"/>
          <ac:spMkLst>
            <pc:docMk/>
            <pc:sldMk cId="3230806566" sldId="2147473975"/>
            <ac:spMk id="32" creationId="{1324D3B3-460E-FC78-5C41-9CA7C9812588}"/>
          </ac:spMkLst>
        </pc:spChg>
        <pc:spChg chg="add del mod ord">
          <ac:chgData name="Androleit, Sofia" userId="a235e272-1198-4b45-ad6e-d78819128082" providerId="ADAL" clId="{451BAC58-0EA8-4F63-8CEA-D814B48951F3}" dt="2024-12-03T10:08:13.988" v="3855"/>
          <ac:spMkLst>
            <pc:docMk/>
            <pc:sldMk cId="3230806566" sldId="2147473975"/>
            <ac:spMk id="33" creationId="{8E35FA8C-3FBE-DD9C-7A3B-E364152A6704}"/>
          </ac:spMkLst>
        </pc:spChg>
        <pc:spChg chg="add del mod ord">
          <ac:chgData name="Androleit, Sofia" userId="a235e272-1198-4b45-ad6e-d78819128082" providerId="ADAL" clId="{451BAC58-0EA8-4F63-8CEA-D814B48951F3}" dt="2024-12-03T10:08:16.516" v="4258"/>
          <ac:spMkLst>
            <pc:docMk/>
            <pc:sldMk cId="3230806566" sldId="2147473975"/>
            <ac:spMk id="34" creationId="{C70F5604-DAB9-70C0-93CD-5518D7BE3BAD}"/>
          </ac:spMkLst>
        </pc:spChg>
        <pc:spChg chg="add del mod modVis">
          <ac:chgData name="Androleit, Sofia" userId="a235e272-1198-4b45-ad6e-d78819128082" providerId="ADAL" clId="{451BAC58-0EA8-4F63-8CEA-D814B48951F3}" dt="2024-12-03T10:08:14.192" v="4102"/>
          <ac:spMkLst>
            <pc:docMk/>
            <pc:sldMk cId="3230806566" sldId="2147473975"/>
            <ac:spMk id="35" creationId="{3C45ECE8-A262-B3A3-66CA-4513C24C45E8}"/>
          </ac:spMkLst>
        </pc:spChg>
        <pc:spChg chg="add mod ord">
          <ac:chgData name="Androleit, Sofia" userId="a235e272-1198-4b45-ad6e-d78819128082" providerId="ADAL" clId="{451BAC58-0EA8-4F63-8CEA-D814B48951F3}" dt="2024-12-03T11:30:36.273" v="17660"/>
          <ac:spMkLst>
            <pc:docMk/>
            <pc:sldMk cId="3230806566" sldId="2147473975"/>
            <ac:spMk id="36" creationId="{9F79FF48-4FAD-2A49-F9FF-BC0A00A29199}"/>
          </ac:spMkLst>
        </pc:spChg>
        <pc:spChg chg="add del mod modVis">
          <ac:chgData name="Androleit, Sofia" userId="a235e272-1198-4b45-ad6e-d78819128082" providerId="ADAL" clId="{451BAC58-0EA8-4F63-8CEA-D814B48951F3}" dt="2024-12-03T10:08:16.736" v="4505"/>
          <ac:spMkLst>
            <pc:docMk/>
            <pc:sldMk cId="3230806566" sldId="2147473975"/>
            <ac:spMk id="37" creationId="{EC04C9DF-BE11-0275-FD99-F3008ECDFF37}"/>
          </ac:spMkLst>
        </pc:spChg>
        <pc:spChg chg="add del mod ord">
          <ac:chgData name="Androleit, Sofia" userId="a235e272-1198-4b45-ad6e-d78819128082" providerId="ADAL" clId="{451BAC58-0EA8-4F63-8CEA-D814B48951F3}" dt="2024-12-03T10:08:23.280" v="5394"/>
          <ac:spMkLst>
            <pc:docMk/>
            <pc:sldMk cId="3230806566" sldId="2147473975"/>
            <ac:spMk id="38" creationId="{B3376346-AA63-CD5F-0D4F-4BC4D0863EB6}"/>
          </ac:spMkLst>
        </pc:spChg>
        <pc:spChg chg="add del mod modVis">
          <ac:chgData name="Androleit, Sofia" userId="a235e272-1198-4b45-ad6e-d78819128082" providerId="ADAL" clId="{451BAC58-0EA8-4F63-8CEA-D814B48951F3}" dt="2024-12-03T10:08:20.549" v="5248"/>
          <ac:spMkLst>
            <pc:docMk/>
            <pc:sldMk cId="3230806566" sldId="2147473975"/>
            <ac:spMk id="39" creationId="{18BF5D06-1D90-951F-3611-3148F54DD788}"/>
          </ac:spMkLst>
        </pc:spChg>
        <pc:spChg chg="add mod ord">
          <ac:chgData name="Androleit, Sofia" userId="a235e272-1198-4b45-ad6e-d78819128082" providerId="ADAL" clId="{451BAC58-0EA8-4F63-8CEA-D814B48951F3}" dt="2024-12-03T11:30:36.276" v="17662"/>
          <ac:spMkLst>
            <pc:docMk/>
            <pc:sldMk cId="3230806566" sldId="2147473975"/>
            <ac:spMk id="40" creationId="{EB04B6D8-F63A-9105-C6C2-A70DE57B3F8A}"/>
          </ac:spMkLst>
        </pc:spChg>
        <pc:spChg chg="add del mod ord">
          <ac:chgData name="Androleit, Sofia" userId="a235e272-1198-4b45-ad6e-d78819128082" providerId="ADAL" clId="{451BAC58-0EA8-4F63-8CEA-D814B48951F3}" dt="2024-12-03T10:09:48.386" v="10612" actId="948"/>
          <ac:spMkLst>
            <pc:docMk/>
            <pc:sldMk cId="3230806566" sldId="2147473975"/>
            <ac:spMk id="41" creationId="{5C0C5062-DA6F-F82B-F76E-011C7A00FD43}"/>
          </ac:spMkLst>
        </pc:spChg>
        <pc:spChg chg="add del mod modVis">
          <ac:chgData name="Androleit, Sofia" userId="a235e272-1198-4b45-ad6e-d78819128082" providerId="ADAL" clId="{451BAC58-0EA8-4F63-8CEA-D814B48951F3}" dt="2024-12-03T10:09:48.385" v="10611" actId="962"/>
          <ac:spMkLst>
            <pc:docMk/>
            <pc:sldMk cId="3230806566" sldId="2147473975"/>
            <ac:spMk id="42" creationId="{0E1B547F-03CF-C762-D0E6-86E0D777E955}"/>
          </ac:spMkLst>
        </pc:spChg>
        <pc:spChg chg="add del mod modVis">
          <ac:chgData name="Androleit, Sofia" userId="a235e272-1198-4b45-ad6e-d78819128082" providerId="ADAL" clId="{451BAC58-0EA8-4F63-8CEA-D814B48951F3}" dt="2024-12-03T10:10:19.525" v="11303"/>
          <ac:spMkLst>
            <pc:docMk/>
            <pc:sldMk cId="3230806566" sldId="2147473975"/>
            <ac:spMk id="43" creationId="{E8F47DC8-222F-55AD-D5B2-09E230AF2324}"/>
          </ac:spMkLst>
        </pc:spChg>
        <pc:spChg chg="add mod ord">
          <ac:chgData name="Androleit, Sofia" userId="a235e272-1198-4b45-ad6e-d78819128082" providerId="ADAL" clId="{451BAC58-0EA8-4F63-8CEA-D814B48951F3}" dt="2024-12-03T10:43:22.439" v="14917" actId="948"/>
          <ac:spMkLst>
            <pc:docMk/>
            <pc:sldMk cId="3230806566" sldId="2147473975"/>
            <ac:spMk id="44" creationId="{CEBBA3CD-0518-3DBD-BC0A-57DF44218ECE}"/>
          </ac:spMkLst>
        </pc:spChg>
        <pc:spChg chg="add del mod modVis">
          <ac:chgData name="Androleit, Sofia" userId="a235e272-1198-4b45-ad6e-d78819128082" providerId="ADAL" clId="{451BAC58-0EA8-4F63-8CEA-D814B48951F3}" dt="2024-12-03T10:43:22.438" v="14916" actId="962"/>
          <ac:spMkLst>
            <pc:docMk/>
            <pc:sldMk cId="3230806566" sldId="2147473975"/>
            <ac:spMk id="45" creationId="{F4964A8C-41C6-5507-430E-8878601748EE}"/>
          </ac:spMkLst>
        </pc:spChg>
        <pc:spChg chg="add del mod modVis">
          <ac:chgData name="Androleit, Sofia" userId="a235e272-1198-4b45-ad6e-d78819128082" providerId="ADAL" clId="{451BAC58-0EA8-4F63-8CEA-D814B48951F3}" dt="2024-12-03T10:43:35.785" v="15596"/>
          <ac:spMkLst>
            <pc:docMk/>
            <pc:sldMk cId="3230806566" sldId="2147473975"/>
            <ac:spMk id="46" creationId="{917ECC78-DF35-1780-375C-190B1EEC328C}"/>
          </ac:spMkLst>
        </pc:spChg>
        <pc:spChg chg="add del mod ord">
          <ac:chgData name="Androleit, Sofia" userId="a235e272-1198-4b45-ad6e-d78819128082" providerId="ADAL" clId="{451BAC58-0EA8-4F63-8CEA-D814B48951F3}" dt="2024-12-03T11:30:26.918" v="16573"/>
          <ac:spMkLst>
            <pc:docMk/>
            <pc:sldMk cId="3230806566" sldId="2147473975"/>
            <ac:spMk id="47" creationId="{3D178602-C0E5-90C2-06DA-0BCAD1D3FA38}"/>
          </ac:spMkLst>
        </pc:spChg>
        <pc:spChg chg="add del mod modVis">
          <ac:chgData name="Androleit, Sofia" userId="a235e272-1198-4b45-ad6e-d78819128082" providerId="ADAL" clId="{451BAC58-0EA8-4F63-8CEA-D814B48951F3}" dt="2024-12-03T11:30:19.502" v="16333"/>
          <ac:spMkLst>
            <pc:docMk/>
            <pc:sldMk cId="3230806566" sldId="2147473975"/>
            <ac:spMk id="48" creationId="{A13576E9-F70C-31BD-2280-0301FD925554}"/>
          </ac:spMkLst>
        </pc:spChg>
        <pc:spChg chg="add del mod ord">
          <ac:chgData name="Androleit, Sofia" userId="a235e272-1198-4b45-ad6e-d78819128082" providerId="ADAL" clId="{451BAC58-0EA8-4F63-8CEA-D814B48951F3}" dt="2024-12-03T11:30:28.626" v="16811"/>
          <ac:spMkLst>
            <pc:docMk/>
            <pc:sldMk cId="3230806566" sldId="2147473975"/>
            <ac:spMk id="49" creationId="{954BEA15-1E1B-B73B-7DD8-1EEE28E97ACD}"/>
          </ac:spMkLst>
        </pc:spChg>
        <pc:spChg chg="add del mod modVis">
          <ac:chgData name="Androleit, Sofia" userId="a235e272-1198-4b45-ad6e-d78819128082" providerId="ADAL" clId="{451BAC58-0EA8-4F63-8CEA-D814B48951F3}" dt="2024-12-03T11:30:27.634" v="16767"/>
          <ac:spMkLst>
            <pc:docMk/>
            <pc:sldMk cId="3230806566" sldId="2147473975"/>
            <ac:spMk id="50" creationId="{27D6D441-9ED6-28A4-697B-BBEA70A5BB9E}"/>
          </ac:spMkLst>
        </pc:spChg>
        <pc:spChg chg="add del mod ord">
          <ac:chgData name="Androleit, Sofia" userId="a235e272-1198-4b45-ad6e-d78819128082" providerId="ADAL" clId="{451BAC58-0EA8-4F63-8CEA-D814B48951F3}" dt="2024-12-03T11:30:31.993" v="17051"/>
          <ac:spMkLst>
            <pc:docMk/>
            <pc:sldMk cId="3230806566" sldId="2147473975"/>
            <ac:spMk id="51" creationId="{4AD10687-7778-1052-84D6-2ACA3F696F46}"/>
          </ac:spMkLst>
        </pc:spChg>
        <pc:spChg chg="add del mod modVis">
          <ac:chgData name="Androleit, Sofia" userId="a235e272-1198-4b45-ad6e-d78819128082" providerId="ADAL" clId="{451BAC58-0EA8-4F63-8CEA-D814B48951F3}" dt="2024-12-03T11:30:29.468" v="17005"/>
          <ac:spMkLst>
            <pc:docMk/>
            <pc:sldMk cId="3230806566" sldId="2147473975"/>
            <ac:spMk id="52" creationId="{80EE94F4-9085-E586-3025-342C73860ACC}"/>
          </ac:spMkLst>
        </pc:spChg>
        <pc:spChg chg="add del mod ord">
          <ac:chgData name="Androleit, Sofia" userId="a235e272-1198-4b45-ad6e-d78819128082" providerId="ADAL" clId="{451BAC58-0EA8-4F63-8CEA-D814B48951F3}" dt="2024-12-03T11:30:33.845" v="17285"/>
          <ac:spMkLst>
            <pc:docMk/>
            <pc:sldMk cId="3230806566" sldId="2147473975"/>
            <ac:spMk id="53" creationId="{02B8E21A-80A4-E73D-050A-11D3D3B00F58}"/>
          </ac:spMkLst>
        </pc:spChg>
        <pc:spChg chg="add del mod modVis">
          <ac:chgData name="Androleit, Sofia" userId="a235e272-1198-4b45-ad6e-d78819128082" providerId="ADAL" clId="{451BAC58-0EA8-4F63-8CEA-D814B48951F3}" dt="2024-12-03T11:30:32.606" v="17245"/>
          <ac:spMkLst>
            <pc:docMk/>
            <pc:sldMk cId="3230806566" sldId="2147473975"/>
            <ac:spMk id="54" creationId="{4E14C767-559D-3C5C-C3C1-88D644565B2B}"/>
          </ac:spMkLst>
        </pc:spChg>
        <pc:spChg chg="add del mod ord">
          <ac:chgData name="Androleit, Sofia" userId="a235e272-1198-4b45-ad6e-d78819128082" providerId="ADAL" clId="{451BAC58-0EA8-4F63-8CEA-D814B48951F3}" dt="2024-12-03T11:30:35.689" v="17522"/>
          <ac:spMkLst>
            <pc:docMk/>
            <pc:sldMk cId="3230806566" sldId="2147473975"/>
            <ac:spMk id="55" creationId="{4181A6BC-5B96-BD92-12B9-AB1410B57BAB}"/>
          </ac:spMkLst>
        </pc:spChg>
        <pc:spChg chg="add del mod modVis">
          <ac:chgData name="Androleit, Sofia" userId="a235e272-1198-4b45-ad6e-d78819128082" providerId="ADAL" clId="{451BAC58-0EA8-4F63-8CEA-D814B48951F3}" dt="2024-12-03T11:30:34.415" v="17479"/>
          <ac:spMkLst>
            <pc:docMk/>
            <pc:sldMk cId="3230806566" sldId="2147473975"/>
            <ac:spMk id="56" creationId="{AA84A12C-630F-DCBF-C444-411E9736BC2C}"/>
          </ac:spMkLst>
        </pc:spChg>
        <pc:spChg chg="add mod ord">
          <ac:chgData name="Androleit, Sofia" userId="a235e272-1198-4b45-ad6e-d78819128082" providerId="ADAL" clId="{451BAC58-0EA8-4F63-8CEA-D814B48951F3}" dt="2024-12-03T11:30:36.266" v="17654"/>
          <ac:spMkLst>
            <pc:docMk/>
            <pc:sldMk cId="3230806566" sldId="2147473975"/>
            <ac:spMk id="57" creationId="{BE56A82A-2BA6-976C-6BC4-A8D066226CFB}"/>
          </ac:spMkLst>
        </pc:spChg>
        <pc:spChg chg="add del mod modVis">
          <ac:chgData name="Androleit, Sofia" userId="a235e272-1198-4b45-ad6e-d78819128082" providerId="ADAL" clId="{451BAC58-0EA8-4F63-8CEA-D814B48951F3}" dt="2024-12-03T11:30:36.360" v="17716"/>
          <ac:spMkLst>
            <pc:docMk/>
            <pc:sldMk cId="3230806566" sldId="2147473975"/>
            <ac:spMk id="58" creationId="{D9906D67-302D-8D9F-CBB4-3D1A1EB4EAC3}"/>
          </ac:spMkLst>
        </pc:spChg>
        <pc:graphicFrameChg chg="mod">
          <ac:chgData name="Androleit, Sofia" userId="a235e272-1198-4b45-ad6e-d78819128082" providerId="ADAL" clId="{451BAC58-0EA8-4F63-8CEA-D814B48951F3}" dt="2024-12-03T11:30:36.362" v="17718"/>
          <ac:graphicFrameMkLst>
            <pc:docMk/>
            <pc:sldMk cId="3230806566" sldId="2147473975"/>
            <ac:graphicFrameMk id="6" creationId="{56028E92-FE70-7F3A-1143-B30D5BE90A20}"/>
          </ac:graphicFrameMkLst>
        </pc:graphicFrameChg>
      </pc:sldChg>
      <pc:sldChg chg="addSp delSp modSp mod modTransition modShow">
        <pc:chgData name="Androleit, Sofia" userId="a235e272-1198-4b45-ad6e-d78819128082" providerId="ADAL" clId="{451BAC58-0EA8-4F63-8CEA-D814B48951F3}" dt="2024-12-03T11:44:28.608" v="19703"/>
        <pc:sldMkLst>
          <pc:docMk/>
          <pc:sldMk cId="1338675953" sldId="2147473976"/>
        </pc:sldMkLst>
        <pc:spChg chg="mod ord">
          <ac:chgData name="Androleit, Sofia" userId="a235e272-1198-4b45-ad6e-d78819128082" providerId="ADAL" clId="{451BAC58-0EA8-4F63-8CEA-D814B48951F3}" dt="2024-12-03T11:44:28.577" v="19680" actId="948"/>
          <ac:spMkLst>
            <pc:docMk/>
            <pc:sldMk cId="1338675953" sldId="2147473976"/>
            <ac:spMk id="2" creationId="{419A0FBB-9F69-06E6-7FB9-876FE6695F32}"/>
          </ac:spMkLst>
        </pc:spChg>
        <pc:spChg chg="mod ord">
          <ac:chgData name="Androleit, Sofia" userId="a235e272-1198-4b45-ad6e-d78819128082" providerId="ADAL" clId="{451BAC58-0EA8-4F63-8CEA-D814B48951F3}" dt="2024-12-03T10:43:35.738" v="15500"/>
          <ac:spMkLst>
            <pc:docMk/>
            <pc:sldMk cId="1338675953" sldId="2147473976"/>
            <ac:spMk id="3" creationId="{DE5862B4-95A9-EBF7-A0A0-D186060D49A4}"/>
          </ac:spMkLst>
        </pc:spChg>
        <pc:spChg chg="del mod ord">
          <ac:chgData name="Androleit, Sofia" userId="a235e272-1198-4b45-ad6e-d78819128082" providerId="ADAL" clId="{451BAC58-0EA8-4F63-8CEA-D814B48951F3}" dt="2024-12-03T10:07:14.124" v="857"/>
          <ac:spMkLst>
            <pc:docMk/>
            <pc:sldMk cId="1338675953" sldId="2147473976"/>
            <ac:spMk id="4" creationId="{1AAE5FA1-755C-F9DD-632F-972A6EB92B1F}"/>
          </ac:spMkLst>
        </pc:spChg>
        <pc:spChg chg="add del mod modVis">
          <ac:chgData name="Androleit, Sofia" userId="a235e272-1198-4b45-ad6e-d78819128082" providerId="ADAL" clId="{451BAC58-0EA8-4F63-8CEA-D814B48951F3}" dt="2024-12-03T10:06:23.171" v="518"/>
          <ac:spMkLst>
            <pc:docMk/>
            <pc:sldMk cId="1338675953" sldId="2147473976"/>
            <ac:spMk id="5" creationId="{4937D3FC-D525-61D1-06F1-853C318CB70C}"/>
          </ac:spMkLst>
        </pc:spChg>
        <pc:spChg chg="del mod ord">
          <ac:chgData name="Androleit, Sofia" userId="a235e272-1198-4b45-ad6e-d78819128082" providerId="ADAL" clId="{451BAC58-0EA8-4F63-8CEA-D814B48951F3}" dt="2024-12-03T10:08:08.472" v="3270"/>
          <ac:spMkLst>
            <pc:docMk/>
            <pc:sldMk cId="1338675953" sldId="2147473976"/>
            <ac:spMk id="7" creationId="{10CCB9F2-52F5-7588-FD89-5C659CD5E3FA}"/>
          </ac:spMkLst>
        </pc:spChg>
        <pc:spChg chg="del mod ord">
          <ac:chgData name="Androleit, Sofia" userId="a235e272-1198-4b45-ad6e-d78819128082" providerId="ADAL" clId="{451BAC58-0EA8-4F63-8CEA-D814B48951F3}" dt="2024-12-03T10:09:12.538" v="7555"/>
          <ac:spMkLst>
            <pc:docMk/>
            <pc:sldMk cId="1338675953" sldId="2147473976"/>
            <ac:spMk id="8" creationId="{F8D44819-4DE2-4DF4-3593-B1DB415A432B}"/>
          </ac:spMkLst>
        </pc:spChg>
        <pc:spChg chg="add del mod ord">
          <ac:chgData name="Androleit, Sofia" userId="a235e272-1198-4b45-ad6e-d78819128082" providerId="ADAL" clId="{451BAC58-0EA8-4F63-8CEA-D814B48951F3}" dt="2024-12-03T10:07:16.778" v="1100"/>
          <ac:spMkLst>
            <pc:docMk/>
            <pc:sldMk cId="1338675953" sldId="2147473976"/>
            <ac:spMk id="9" creationId="{CBE3B649-1991-C3FE-8551-6C149B813136}"/>
          </ac:spMkLst>
        </pc:spChg>
        <pc:spChg chg="add del mod ord">
          <ac:chgData name="Androleit, Sofia" userId="a235e272-1198-4b45-ad6e-d78819128082" providerId="ADAL" clId="{451BAC58-0EA8-4F63-8CEA-D814B48951F3}" dt="2024-12-03T10:07:17.108" v="1333"/>
          <ac:spMkLst>
            <pc:docMk/>
            <pc:sldMk cId="1338675953" sldId="2147473976"/>
            <ac:spMk id="10" creationId="{10B5CDF0-3DA6-F6A3-87E1-2ABBBD1D6F40}"/>
          </ac:spMkLst>
        </pc:spChg>
        <pc:spChg chg="add del mod ord">
          <ac:chgData name="Androleit, Sofia" userId="a235e272-1198-4b45-ad6e-d78819128082" providerId="ADAL" clId="{451BAC58-0EA8-4F63-8CEA-D814B48951F3}" dt="2024-12-03T10:07:18.147" v="1569"/>
          <ac:spMkLst>
            <pc:docMk/>
            <pc:sldMk cId="1338675953" sldId="2147473976"/>
            <ac:spMk id="11" creationId="{4D5FF542-0DDE-72A7-29A9-A12B06E8BC89}"/>
          </ac:spMkLst>
        </pc:spChg>
        <pc:spChg chg="add mod ord">
          <ac:chgData name="Androleit, Sofia" userId="a235e272-1198-4b45-ad6e-d78819128082" providerId="ADAL" clId="{451BAC58-0EA8-4F63-8CEA-D814B48951F3}" dt="2024-12-03T11:44:28.593" v="19689" actId="299"/>
          <ac:spMkLst>
            <pc:docMk/>
            <pc:sldMk cId="1338675953" sldId="2147473976"/>
            <ac:spMk id="12" creationId="{63FBCAB6-7102-73B4-C103-EF2EECFCD953}"/>
          </ac:spMkLst>
        </pc:spChg>
        <pc:spChg chg="add del mod ord">
          <ac:chgData name="Androleit, Sofia" userId="a235e272-1198-4b45-ad6e-d78819128082" providerId="ADAL" clId="{451BAC58-0EA8-4F63-8CEA-D814B48951F3}" dt="2024-12-03T10:08:09.274" v="3493"/>
          <ac:spMkLst>
            <pc:docMk/>
            <pc:sldMk cId="1338675953" sldId="2147473976"/>
            <ac:spMk id="13" creationId="{AD6049FC-1FA2-18B8-CD3B-A38CBD8AE0B7}"/>
          </ac:spMkLst>
        </pc:spChg>
        <pc:spChg chg="del mod ord">
          <ac:chgData name="Androleit, Sofia" userId="a235e272-1198-4b45-ad6e-d78819128082" providerId="ADAL" clId="{451BAC58-0EA8-4F63-8CEA-D814B48951F3}" dt="2024-12-03T10:09:20.414" v="7825"/>
          <ac:spMkLst>
            <pc:docMk/>
            <pc:sldMk cId="1338675953" sldId="2147473976"/>
            <ac:spMk id="14" creationId="{0DEE01F4-699C-920B-2360-EA88ECB3B011}"/>
          </ac:spMkLst>
        </pc:spChg>
        <pc:spChg chg="add del mod ord">
          <ac:chgData name="Androleit, Sofia" userId="a235e272-1198-4b45-ad6e-d78819128082" providerId="ADAL" clId="{451BAC58-0EA8-4F63-8CEA-D814B48951F3}" dt="2024-12-03T10:08:13.909" v="3797"/>
          <ac:spMkLst>
            <pc:docMk/>
            <pc:sldMk cId="1338675953" sldId="2147473976"/>
            <ac:spMk id="15" creationId="{7EBD2865-83E3-AB5F-F6CF-ACBB84C3C58A}"/>
          </ac:spMkLst>
        </pc:spChg>
        <pc:spChg chg="add del mod ord">
          <ac:chgData name="Androleit, Sofia" userId="a235e272-1198-4b45-ad6e-d78819128082" providerId="ADAL" clId="{451BAC58-0EA8-4F63-8CEA-D814B48951F3}" dt="2024-12-03T10:08:16.453" v="4200"/>
          <ac:spMkLst>
            <pc:docMk/>
            <pc:sldMk cId="1338675953" sldId="2147473976"/>
            <ac:spMk id="16" creationId="{B3FB5D30-B79B-6CD2-0B09-94C6C90F5174}"/>
          </ac:spMkLst>
        </pc:spChg>
        <pc:spChg chg="add del mod modVis">
          <ac:chgData name="Androleit, Sofia" userId="a235e272-1198-4b45-ad6e-d78819128082" providerId="ADAL" clId="{451BAC58-0EA8-4F63-8CEA-D814B48951F3}" dt="2024-12-03T10:08:14.161" v="4074"/>
          <ac:spMkLst>
            <pc:docMk/>
            <pc:sldMk cId="1338675953" sldId="2147473976"/>
            <ac:spMk id="17" creationId="{517D2817-44D5-3122-7B7F-7F2F06217F4A}"/>
          </ac:spMkLst>
        </pc:spChg>
        <pc:spChg chg="add mod ord">
          <ac:chgData name="Androleit, Sofia" userId="a235e272-1198-4b45-ad6e-d78819128082" providerId="ADAL" clId="{451BAC58-0EA8-4F63-8CEA-D814B48951F3}" dt="2024-12-03T11:44:28.593" v="19695" actId="299"/>
          <ac:spMkLst>
            <pc:docMk/>
            <pc:sldMk cId="1338675953" sldId="2147473976"/>
            <ac:spMk id="18" creationId="{839CEA17-3934-6B4B-54E4-62C65D75AC48}"/>
          </ac:spMkLst>
        </pc:spChg>
        <pc:spChg chg="del mod ord">
          <ac:chgData name="Androleit, Sofia" userId="a235e272-1198-4b45-ad6e-d78819128082" providerId="ADAL" clId="{451BAC58-0EA8-4F63-8CEA-D814B48951F3}" dt="2024-12-03T11:44:28.577" v="19678"/>
          <ac:spMkLst>
            <pc:docMk/>
            <pc:sldMk cId="1338675953" sldId="2147473976"/>
            <ac:spMk id="19" creationId="{5CEB7346-DE50-6886-23CD-2577B7992C5D}"/>
          </ac:spMkLst>
        </pc:spChg>
        <pc:spChg chg="add del mod modVis">
          <ac:chgData name="Androleit, Sofia" userId="a235e272-1198-4b45-ad6e-d78819128082" providerId="ADAL" clId="{451BAC58-0EA8-4F63-8CEA-D814B48951F3}" dt="2024-12-03T10:08:16.704" v="4477"/>
          <ac:spMkLst>
            <pc:docMk/>
            <pc:sldMk cId="1338675953" sldId="2147473976"/>
            <ac:spMk id="20" creationId="{3A182C85-1BDF-9182-58BD-9B0170D2732B}"/>
          </ac:spMkLst>
        </pc:spChg>
        <pc:spChg chg="add del mod ord">
          <ac:chgData name="Androleit, Sofia" userId="a235e272-1198-4b45-ad6e-d78819128082" providerId="ADAL" clId="{451BAC58-0EA8-4F63-8CEA-D814B48951F3}" dt="2024-12-03T10:08:23.280" v="5390"/>
          <ac:spMkLst>
            <pc:docMk/>
            <pc:sldMk cId="1338675953" sldId="2147473976"/>
            <ac:spMk id="21" creationId="{4D33709B-4FF7-1053-3E16-C658F7ECAE99}"/>
          </ac:spMkLst>
        </pc:spChg>
        <pc:spChg chg="add del mod modVis">
          <ac:chgData name="Androleit, Sofia" userId="a235e272-1198-4b45-ad6e-d78819128082" providerId="ADAL" clId="{451BAC58-0EA8-4F63-8CEA-D814B48951F3}" dt="2024-12-03T10:08:20.518" v="5220"/>
          <ac:spMkLst>
            <pc:docMk/>
            <pc:sldMk cId="1338675953" sldId="2147473976"/>
            <ac:spMk id="22" creationId="{D0AED877-95B6-07C9-633F-5FBE9545B0EC}"/>
          </ac:spMkLst>
        </pc:spChg>
        <pc:spChg chg="add mod ord">
          <ac:chgData name="Androleit, Sofia" userId="a235e272-1198-4b45-ad6e-d78819128082" providerId="ADAL" clId="{451BAC58-0EA8-4F63-8CEA-D814B48951F3}" dt="2024-12-03T11:44:28.608" v="19701" actId="299"/>
          <ac:spMkLst>
            <pc:docMk/>
            <pc:sldMk cId="1338675953" sldId="2147473976"/>
            <ac:spMk id="23" creationId="{A109A294-7BD9-E17A-1B3B-98A5C569EA1F}"/>
          </ac:spMkLst>
        </pc:spChg>
        <pc:spChg chg="add del mod ord">
          <ac:chgData name="Androleit, Sofia" userId="a235e272-1198-4b45-ad6e-d78819128082" providerId="ADAL" clId="{451BAC58-0EA8-4F63-8CEA-D814B48951F3}" dt="2024-12-03T10:09:48.404" v="10642" actId="948"/>
          <ac:spMkLst>
            <pc:docMk/>
            <pc:sldMk cId="1338675953" sldId="2147473976"/>
            <ac:spMk id="24" creationId="{2E9CCF90-F62F-25C6-8765-E212D7F55F10}"/>
          </ac:spMkLst>
        </pc:spChg>
        <pc:spChg chg="add del mod modVis">
          <ac:chgData name="Androleit, Sofia" userId="a235e272-1198-4b45-ad6e-d78819128082" providerId="ADAL" clId="{451BAC58-0EA8-4F63-8CEA-D814B48951F3}" dt="2024-12-03T10:09:48.404" v="10641" actId="962"/>
          <ac:spMkLst>
            <pc:docMk/>
            <pc:sldMk cId="1338675953" sldId="2147473976"/>
            <ac:spMk id="25" creationId="{653B464A-654A-2E0F-2EBA-EBE986197543}"/>
          </ac:spMkLst>
        </pc:spChg>
        <pc:spChg chg="del mod ord">
          <ac:chgData name="Androleit, Sofia" userId="a235e272-1198-4b45-ad6e-d78819128082" providerId="ADAL" clId="{451BAC58-0EA8-4F63-8CEA-D814B48951F3}" dt="2024-12-03T11:44:25.453" v="19585"/>
          <ac:spMkLst>
            <pc:docMk/>
            <pc:sldMk cId="1338675953" sldId="2147473976"/>
            <ac:spMk id="26" creationId="{5F8C8CE3-EB0E-7F78-CC86-97C2363F1B5E}"/>
          </ac:spMkLst>
        </pc:spChg>
        <pc:spChg chg="add mod ord">
          <ac:chgData name="Androleit, Sofia" userId="a235e272-1198-4b45-ad6e-d78819128082" providerId="ADAL" clId="{451BAC58-0EA8-4F63-8CEA-D814B48951F3}" dt="2024-12-03T10:09:47.117" v="10296" actId="948"/>
          <ac:spMkLst>
            <pc:docMk/>
            <pc:sldMk cId="1338675953" sldId="2147473976"/>
            <ac:spMk id="27" creationId="{F319B368-7B59-4B26-6041-1B8C758138D8}"/>
          </ac:spMkLst>
        </pc:spChg>
        <pc:spChg chg="add del mod modVis">
          <ac:chgData name="Androleit, Sofia" userId="a235e272-1198-4b45-ad6e-d78819128082" providerId="ADAL" clId="{451BAC58-0EA8-4F63-8CEA-D814B48951F3}" dt="2024-12-03T10:09:47.117" v="10295" actId="962"/>
          <ac:spMkLst>
            <pc:docMk/>
            <pc:sldMk cId="1338675953" sldId="2147473976"/>
            <ac:spMk id="28" creationId="{B3F022AE-8753-33DE-B66D-F7D57ED78F67}"/>
          </ac:spMkLst>
        </pc:spChg>
        <pc:spChg chg="add del mod modVis">
          <ac:chgData name="Androleit, Sofia" userId="a235e272-1198-4b45-ad6e-d78819128082" providerId="ADAL" clId="{451BAC58-0EA8-4F63-8CEA-D814B48951F3}" dt="2024-12-03T10:09:46.521" v="9946" actId="962"/>
          <ac:spMkLst>
            <pc:docMk/>
            <pc:sldMk cId="1338675953" sldId="2147473976"/>
            <ac:spMk id="29" creationId="{445AD93C-C8EF-9FAB-B2D8-50866F78AD7D}"/>
          </ac:spMkLst>
        </pc:spChg>
        <pc:spChg chg="add del mod modVis">
          <ac:chgData name="Androleit, Sofia" userId="a235e272-1198-4b45-ad6e-d78819128082" providerId="ADAL" clId="{451BAC58-0EA8-4F63-8CEA-D814B48951F3}" dt="2024-12-03T10:09:45.673" v="9765" actId="962"/>
          <ac:spMkLst>
            <pc:docMk/>
            <pc:sldMk cId="1338675953" sldId="2147473976"/>
            <ac:spMk id="30" creationId="{8B32E6A5-EA8B-6C63-6611-D740779693E7}"/>
          </ac:spMkLst>
        </pc:spChg>
        <pc:spChg chg="add del mod modVis">
          <ac:chgData name="Androleit, Sofia" userId="a235e272-1198-4b45-ad6e-d78819128082" providerId="ADAL" clId="{451BAC58-0EA8-4F63-8CEA-D814B48951F3}" dt="2024-12-03T10:10:19.494" v="11275"/>
          <ac:spMkLst>
            <pc:docMk/>
            <pc:sldMk cId="1338675953" sldId="2147473976"/>
            <ac:spMk id="31" creationId="{9B741DB1-AA83-A816-4802-D28B8EA31A39}"/>
          </ac:spMkLst>
        </pc:spChg>
        <pc:spChg chg="add del mod modVis">
          <ac:chgData name="Androleit, Sofia" userId="a235e272-1198-4b45-ad6e-d78819128082" providerId="ADAL" clId="{451BAC58-0EA8-4F63-8CEA-D814B48951F3}" dt="2024-12-03T10:10:22.368" v="11477"/>
          <ac:spMkLst>
            <pc:docMk/>
            <pc:sldMk cId="1338675953" sldId="2147473976"/>
            <ac:spMk id="32" creationId="{49493F5F-605A-8550-DA47-979F526A5D4A}"/>
          </ac:spMkLst>
        </pc:spChg>
        <pc:spChg chg="add del mod modVis">
          <ac:chgData name="Androleit, Sofia" userId="a235e272-1198-4b45-ad6e-d78819128082" providerId="ADAL" clId="{451BAC58-0EA8-4F63-8CEA-D814B48951F3}" dt="2024-12-03T10:10:27.672" v="11771"/>
          <ac:spMkLst>
            <pc:docMk/>
            <pc:sldMk cId="1338675953" sldId="2147473976"/>
            <ac:spMk id="33" creationId="{CD64D193-EE53-894A-9F84-FCB8CCAEA0A6}"/>
          </ac:spMkLst>
        </pc:spChg>
        <pc:spChg chg="add del mod modVis">
          <ac:chgData name="Androleit, Sofia" userId="a235e272-1198-4b45-ad6e-d78819128082" providerId="ADAL" clId="{451BAC58-0EA8-4F63-8CEA-D814B48951F3}" dt="2024-12-03T10:10:30.011" v="11952"/>
          <ac:spMkLst>
            <pc:docMk/>
            <pc:sldMk cId="1338675953" sldId="2147473976"/>
            <ac:spMk id="34" creationId="{669CEB7D-849B-F7DD-4AC9-E301117F0ABE}"/>
          </ac:spMkLst>
        </pc:spChg>
        <pc:spChg chg="add del mod modVis">
          <ac:chgData name="Androleit, Sofia" userId="a235e272-1198-4b45-ad6e-d78819128082" providerId="ADAL" clId="{451BAC58-0EA8-4F63-8CEA-D814B48951F3}" dt="2024-12-03T10:10:31.016" v="12131"/>
          <ac:spMkLst>
            <pc:docMk/>
            <pc:sldMk cId="1338675953" sldId="2147473976"/>
            <ac:spMk id="35" creationId="{80D593BE-F6CF-E512-D710-160D4E4390D2}"/>
          </ac:spMkLst>
        </pc:spChg>
        <pc:spChg chg="add del mod modVis">
          <ac:chgData name="Androleit, Sofia" userId="a235e272-1198-4b45-ad6e-d78819128082" providerId="ADAL" clId="{451BAC58-0EA8-4F63-8CEA-D814B48951F3}" dt="2024-12-03T10:10:34.569" v="12315"/>
          <ac:spMkLst>
            <pc:docMk/>
            <pc:sldMk cId="1338675953" sldId="2147473976"/>
            <ac:spMk id="36" creationId="{B3EE0856-A927-F03D-A0CF-CB48346B1AC3}"/>
          </ac:spMkLst>
        </pc:spChg>
        <pc:spChg chg="add del mod modVis">
          <ac:chgData name="Androleit, Sofia" userId="a235e272-1198-4b45-ad6e-d78819128082" providerId="ADAL" clId="{451BAC58-0EA8-4F63-8CEA-D814B48951F3}" dt="2024-12-03T10:10:35.387" v="12494"/>
          <ac:spMkLst>
            <pc:docMk/>
            <pc:sldMk cId="1338675953" sldId="2147473976"/>
            <ac:spMk id="37" creationId="{C184FBD6-4B62-C3CB-CF62-C3E34B321A3B}"/>
          </ac:spMkLst>
        </pc:spChg>
        <pc:spChg chg="add del mod modVis">
          <ac:chgData name="Androleit, Sofia" userId="a235e272-1198-4b45-ad6e-d78819128082" providerId="ADAL" clId="{451BAC58-0EA8-4F63-8CEA-D814B48951F3}" dt="2024-12-03T10:10:37.695" v="12677"/>
          <ac:spMkLst>
            <pc:docMk/>
            <pc:sldMk cId="1338675953" sldId="2147473976"/>
            <ac:spMk id="38" creationId="{200F7FBD-F62A-E8E2-86E0-04E32C7FAE3E}"/>
          </ac:spMkLst>
        </pc:spChg>
        <pc:spChg chg="add del mod modVis">
          <ac:chgData name="Androleit, Sofia" userId="a235e272-1198-4b45-ad6e-d78819128082" providerId="ADAL" clId="{451BAC58-0EA8-4F63-8CEA-D814B48951F3}" dt="2024-12-03T10:10:38.416" v="12852"/>
          <ac:spMkLst>
            <pc:docMk/>
            <pc:sldMk cId="1338675953" sldId="2147473976"/>
            <ac:spMk id="39" creationId="{84B5963A-13F3-A112-E6DD-08016E387E05}"/>
          </ac:spMkLst>
        </pc:spChg>
        <pc:spChg chg="add del mod modVis">
          <ac:chgData name="Androleit, Sofia" userId="a235e272-1198-4b45-ad6e-d78819128082" providerId="ADAL" clId="{451BAC58-0EA8-4F63-8CEA-D814B48951F3}" dt="2024-12-03T10:43:35.759" v="15568"/>
          <ac:spMkLst>
            <pc:docMk/>
            <pc:sldMk cId="1338675953" sldId="2147473976"/>
            <ac:spMk id="40" creationId="{A1B4709E-832E-DA8E-F454-62514050C904}"/>
          </ac:spMkLst>
        </pc:spChg>
        <pc:graphicFrameChg chg="mod">
          <ac:chgData name="Androleit, Sofia" userId="a235e272-1198-4b45-ad6e-d78819128082" providerId="ADAL" clId="{451BAC58-0EA8-4F63-8CEA-D814B48951F3}" dt="2024-12-03T11:44:28.608" v="19703"/>
          <ac:graphicFrameMkLst>
            <pc:docMk/>
            <pc:sldMk cId="1338675953" sldId="2147473976"/>
            <ac:graphicFrameMk id="6" creationId="{56028E92-FE70-7F3A-1143-B30D5BE90A20}"/>
          </ac:graphicFrameMkLst>
        </pc:graphicFrameChg>
      </pc:sldChg>
      <pc:sldChg chg="del">
        <pc:chgData name="Androleit, Sofia" userId="a235e272-1198-4b45-ad6e-d78819128082" providerId="ADAL" clId="{451BAC58-0EA8-4F63-8CEA-D814B48951F3}" dt="2024-12-03T10:06:38.745" v="618" actId="2696"/>
        <pc:sldMkLst>
          <pc:docMk/>
          <pc:sldMk cId="1954188284" sldId="2147473978"/>
        </pc:sldMkLst>
      </pc:sldChg>
      <pc:sldChg chg="del">
        <pc:chgData name="Androleit, Sofia" userId="a235e272-1198-4b45-ad6e-d78819128082" providerId="ADAL" clId="{451BAC58-0EA8-4F63-8CEA-D814B48951F3}" dt="2024-12-03T10:06:59.064" v="758" actId="2696"/>
        <pc:sldMkLst>
          <pc:docMk/>
          <pc:sldMk cId="419050342" sldId="2147473981"/>
        </pc:sldMkLst>
      </pc:sldChg>
      <pc:sldChg chg="del">
        <pc:chgData name="Androleit, Sofia" userId="a235e272-1198-4b45-ad6e-d78819128082" providerId="ADAL" clId="{451BAC58-0EA8-4F63-8CEA-D814B48951F3}" dt="2024-12-03T10:06:59.064" v="758" actId="2696"/>
        <pc:sldMkLst>
          <pc:docMk/>
          <pc:sldMk cId="2576544028" sldId="2147473982"/>
        </pc:sldMkLst>
      </pc:sldChg>
      <pc:sldChg chg="del">
        <pc:chgData name="Androleit, Sofia" userId="a235e272-1198-4b45-ad6e-d78819128082" providerId="ADAL" clId="{451BAC58-0EA8-4F63-8CEA-D814B48951F3}" dt="2024-12-03T10:07:05.723" v="827" actId="2696"/>
        <pc:sldMkLst>
          <pc:docMk/>
          <pc:sldMk cId="984888113" sldId="2147473983"/>
        </pc:sldMkLst>
      </pc:sldChg>
      <pc:sldChg chg="addSp delSp modSp del mod modTransition">
        <pc:chgData name="Androleit, Sofia" userId="a235e272-1198-4b45-ad6e-d78819128082" providerId="ADAL" clId="{451BAC58-0EA8-4F63-8CEA-D814B48951F3}" dt="2024-12-03T11:44:28.027" v="19654" actId="2696"/>
        <pc:sldMkLst>
          <pc:docMk/>
          <pc:sldMk cId="3593772723" sldId="2147473984"/>
        </pc:sldMkLst>
        <pc:spChg chg="mod ord">
          <ac:chgData name="Androleit, Sofia" userId="a235e272-1198-4b45-ad6e-d78819128082" providerId="ADAL" clId="{451BAC58-0EA8-4F63-8CEA-D814B48951F3}" dt="2024-12-03T11:44:25.468" v="19591" actId="948"/>
          <ac:spMkLst>
            <pc:docMk/>
            <pc:sldMk cId="3593772723" sldId="2147473984"/>
            <ac:spMk id="2" creationId="{419A0FBB-9F69-06E6-7FB9-876FE6695F32}"/>
          </ac:spMkLst>
        </pc:spChg>
        <pc:spChg chg="mod ord">
          <ac:chgData name="Androleit, Sofia" userId="a235e272-1198-4b45-ad6e-d78819128082" providerId="ADAL" clId="{451BAC58-0EA8-4F63-8CEA-D814B48951F3}" dt="2024-12-03T10:43:35.747" v="15528"/>
          <ac:spMkLst>
            <pc:docMk/>
            <pc:sldMk cId="3593772723" sldId="2147473984"/>
            <ac:spMk id="3" creationId="{DE5862B4-95A9-EBF7-A0A0-D186060D49A4}"/>
          </ac:spMkLst>
        </pc:spChg>
        <pc:spChg chg="add del mod modVis">
          <ac:chgData name="Androleit, Sofia" userId="a235e272-1198-4b45-ad6e-d78819128082" providerId="ADAL" clId="{451BAC58-0EA8-4F63-8CEA-D814B48951F3}" dt="2024-12-03T10:06:23.187" v="526"/>
          <ac:spMkLst>
            <pc:docMk/>
            <pc:sldMk cId="3593772723" sldId="2147473984"/>
            <ac:spMk id="4" creationId="{22235567-C15B-D441-553C-07AFBF0AFBA0}"/>
          </ac:spMkLst>
        </pc:spChg>
        <pc:spChg chg="del mod ord">
          <ac:chgData name="Androleit, Sofia" userId="a235e272-1198-4b45-ad6e-d78819128082" providerId="ADAL" clId="{451BAC58-0EA8-4F63-8CEA-D814B48951F3}" dt="2024-12-03T10:07:14.187" v="889"/>
          <ac:spMkLst>
            <pc:docMk/>
            <pc:sldMk cId="3593772723" sldId="2147473984"/>
            <ac:spMk id="5" creationId="{8C777DB5-9D2A-2FAE-3FB0-12D3A72640A3}"/>
          </ac:spMkLst>
        </pc:spChg>
        <pc:spChg chg="add del mod ord">
          <ac:chgData name="Androleit, Sofia" userId="a235e272-1198-4b45-ad6e-d78819128082" providerId="ADAL" clId="{451BAC58-0EA8-4F63-8CEA-D814B48951F3}" dt="2024-12-03T10:07:16.841" v="1132"/>
          <ac:spMkLst>
            <pc:docMk/>
            <pc:sldMk cId="3593772723" sldId="2147473984"/>
            <ac:spMk id="7" creationId="{F782E00A-4D44-286C-2822-CBF4693DFEE1}"/>
          </ac:spMkLst>
        </pc:spChg>
        <pc:spChg chg="add del mod ord">
          <ac:chgData name="Androleit, Sofia" userId="a235e272-1198-4b45-ad6e-d78819128082" providerId="ADAL" clId="{451BAC58-0EA8-4F63-8CEA-D814B48951F3}" dt="2024-12-03T10:07:17.186" v="1365"/>
          <ac:spMkLst>
            <pc:docMk/>
            <pc:sldMk cId="3593772723" sldId="2147473984"/>
            <ac:spMk id="8" creationId="{FC37EAFF-23B2-F123-9DA7-F64489831DE7}"/>
          </ac:spMkLst>
        </pc:spChg>
        <pc:spChg chg="add del mod ord">
          <ac:chgData name="Androleit, Sofia" userId="a235e272-1198-4b45-ad6e-d78819128082" providerId="ADAL" clId="{451BAC58-0EA8-4F63-8CEA-D814B48951F3}" dt="2024-12-03T10:07:18.210" v="1601"/>
          <ac:spMkLst>
            <pc:docMk/>
            <pc:sldMk cId="3593772723" sldId="2147473984"/>
            <ac:spMk id="9" creationId="{F3553FD8-37BF-6E67-88F0-0EB2D4F7FDF3}"/>
          </ac:spMkLst>
        </pc:spChg>
        <pc:spChg chg="del mod ord">
          <ac:chgData name="Androleit, Sofia" userId="a235e272-1198-4b45-ad6e-d78819128082" providerId="ADAL" clId="{451BAC58-0EA8-4F63-8CEA-D814B48951F3}" dt="2024-12-03T10:08:08.519" v="3297"/>
          <ac:spMkLst>
            <pc:docMk/>
            <pc:sldMk cId="3593772723" sldId="2147473984"/>
            <ac:spMk id="10" creationId="{CA2348FB-9B32-2E42-FBA2-E41F94B56AE0}"/>
          </ac:spMkLst>
        </pc:spChg>
        <pc:spChg chg="del mod ord">
          <ac:chgData name="Androleit, Sofia" userId="a235e272-1198-4b45-ad6e-d78819128082" providerId="ADAL" clId="{451BAC58-0EA8-4F63-8CEA-D814B48951F3}" dt="2024-12-03T10:09:12.538" v="7563"/>
          <ac:spMkLst>
            <pc:docMk/>
            <pc:sldMk cId="3593772723" sldId="2147473984"/>
            <ac:spMk id="11" creationId="{39F24522-20F4-8AC9-2EA8-505B727F9323}"/>
          </ac:spMkLst>
        </pc:spChg>
        <pc:spChg chg="del mod ord">
          <ac:chgData name="Androleit, Sofia" userId="a235e272-1198-4b45-ad6e-d78819128082" providerId="ADAL" clId="{451BAC58-0EA8-4F63-8CEA-D814B48951F3}" dt="2024-12-03T10:09:20.483" v="7856"/>
          <ac:spMkLst>
            <pc:docMk/>
            <pc:sldMk cId="3593772723" sldId="2147473984"/>
            <ac:spMk id="12" creationId="{522DA540-74C8-8B17-64FE-DAA77022FAC6}"/>
          </ac:spMkLst>
        </pc:spChg>
        <pc:spChg chg="add mod ord">
          <ac:chgData name="Androleit, Sofia" userId="a235e272-1198-4b45-ad6e-d78819128082" providerId="ADAL" clId="{451BAC58-0EA8-4F63-8CEA-D814B48951F3}" dt="2024-12-03T11:44:25.499" v="19623" actId="299"/>
          <ac:spMkLst>
            <pc:docMk/>
            <pc:sldMk cId="3593772723" sldId="2147473984"/>
            <ac:spMk id="13" creationId="{1D156B29-8430-4DA9-096D-0C56646C1FB8}"/>
          </ac:spMkLst>
        </pc:spChg>
        <pc:spChg chg="del mod ord">
          <ac:chgData name="Androleit, Sofia" userId="a235e272-1198-4b45-ad6e-d78819128082" providerId="ADAL" clId="{451BAC58-0EA8-4F63-8CEA-D814B48951F3}" dt="2024-12-03T10:10:19.055" v="10865"/>
          <ac:spMkLst>
            <pc:docMk/>
            <pc:sldMk cId="3593772723" sldId="2147473984"/>
            <ac:spMk id="14" creationId="{0DEE01F4-699C-920B-2360-EA88ECB3B011}"/>
          </ac:spMkLst>
        </pc:spChg>
        <pc:spChg chg="add del mod ord">
          <ac:chgData name="Androleit, Sofia" userId="a235e272-1198-4b45-ad6e-d78819128082" providerId="ADAL" clId="{451BAC58-0EA8-4F63-8CEA-D814B48951F3}" dt="2024-12-03T10:08:09.337" v="3520"/>
          <ac:spMkLst>
            <pc:docMk/>
            <pc:sldMk cId="3593772723" sldId="2147473984"/>
            <ac:spMk id="15" creationId="{21AF83AE-5ECD-3B02-D1DD-B0E1DAA2A10F}"/>
          </ac:spMkLst>
        </pc:spChg>
        <pc:spChg chg="add del mod ord">
          <ac:chgData name="Androleit, Sofia" userId="a235e272-1198-4b45-ad6e-d78819128082" providerId="ADAL" clId="{451BAC58-0EA8-4F63-8CEA-D814B48951F3}" dt="2024-12-03T10:08:14.019" v="3881"/>
          <ac:spMkLst>
            <pc:docMk/>
            <pc:sldMk cId="3593772723" sldId="2147473984"/>
            <ac:spMk id="16" creationId="{F739D63B-84D8-8557-69D9-36B306499154}"/>
          </ac:spMkLst>
        </pc:spChg>
        <pc:spChg chg="add del mod ord">
          <ac:chgData name="Androleit, Sofia" userId="a235e272-1198-4b45-ad6e-d78819128082" providerId="ADAL" clId="{451BAC58-0EA8-4F63-8CEA-D814B48951F3}" dt="2024-12-03T10:08:16.547" v="4284"/>
          <ac:spMkLst>
            <pc:docMk/>
            <pc:sldMk cId="3593772723" sldId="2147473984"/>
            <ac:spMk id="17" creationId="{B6B4BC7C-EF3C-CE93-CBFA-F2F7347FAB26}"/>
          </ac:spMkLst>
        </pc:spChg>
        <pc:spChg chg="add del mod modVis">
          <ac:chgData name="Androleit, Sofia" userId="a235e272-1198-4b45-ad6e-d78819128082" providerId="ADAL" clId="{451BAC58-0EA8-4F63-8CEA-D814B48951F3}" dt="2024-12-03T10:08:14.176" v="4082"/>
          <ac:spMkLst>
            <pc:docMk/>
            <pc:sldMk cId="3593772723" sldId="2147473984"/>
            <ac:spMk id="18" creationId="{9379F2AB-177F-FA69-F8BE-D181403AB04B}"/>
          </ac:spMkLst>
        </pc:spChg>
        <pc:spChg chg="add mod ord">
          <ac:chgData name="Androleit, Sofia" userId="a235e272-1198-4b45-ad6e-d78819128082" providerId="ADAL" clId="{451BAC58-0EA8-4F63-8CEA-D814B48951F3}" dt="2024-12-03T11:44:25.499" v="19629" actId="299"/>
          <ac:spMkLst>
            <pc:docMk/>
            <pc:sldMk cId="3593772723" sldId="2147473984"/>
            <ac:spMk id="19" creationId="{65A1EBFA-E8D2-BDFB-89D9-238A2500EB49}"/>
          </ac:spMkLst>
        </pc:spChg>
        <pc:spChg chg="add del mod modVis">
          <ac:chgData name="Androleit, Sofia" userId="a235e272-1198-4b45-ad6e-d78819128082" providerId="ADAL" clId="{451BAC58-0EA8-4F63-8CEA-D814B48951F3}" dt="2024-12-03T10:08:16.720" v="4485"/>
          <ac:spMkLst>
            <pc:docMk/>
            <pc:sldMk cId="3593772723" sldId="2147473984"/>
            <ac:spMk id="20" creationId="{33E38CD1-9944-7DAB-82E6-0D01A956A960}"/>
          </ac:spMkLst>
        </pc:spChg>
        <pc:spChg chg="add del mod ord">
          <ac:chgData name="Androleit, Sofia" userId="a235e272-1198-4b45-ad6e-d78819128082" providerId="ADAL" clId="{451BAC58-0EA8-4F63-8CEA-D814B48951F3}" dt="2024-12-03T10:08:23.280" v="5396"/>
          <ac:spMkLst>
            <pc:docMk/>
            <pc:sldMk cId="3593772723" sldId="2147473984"/>
            <ac:spMk id="21" creationId="{DB9F0591-4DAA-D020-A1AB-C932E1E7DBD3}"/>
          </ac:spMkLst>
        </pc:spChg>
        <pc:spChg chg="add del mod modVis">
          <ac:chgData name="Androleit, Sofia" userId="a235e272-1198-4b45-ad6e-d78819128082" providerId="ADAL" clId="{451BAC58-0EA8-4F63-8CEA-D814B48951F3}" dt="2024-12-03T10:08:20.518" v="5228"/>
          <ac:spMkLst>
            <pc:docMk/>
            <pc:sldMk cId="3593772723" sldId="2147473984"/>
            <ac:spMk id="22" creationId="{9AD73388-9FB3-C9B7-2ED3-D62B23088383}"/>
          </ac:spMkLst>
        </pc:spChg>
        <pc:spChg chg="del mod ord">
          <ac:chgData name="Androleit, Sofia" userId="a235e272-1198-4b45-ad6e-d78819128082" providerId="ADAL" clId="{451BAC58-0EA8-4F63-8CEA-D814B48951F3}" dt="2024-12-03T10:10:25.755" v="11522"/>
          <ac:spMkLst>
            <pc:docMk/>
            <pc:sldMk cId="3593772723" sldId="2147473984"/>
            <ac:spMk id="23" creationId="{E6D500CA-8736-C1C9-69FA-B9F3CE06EA43}"/>
          </ac:spMkLst>
        </pc:spChg>
        <pc:spChg chg="add mod ord">
          <ac:chgData name="Androleit, Sofia" userId="a235e272-1198-4b45-ad6e-d78819128082" providerId="ADAL" clId="{451BAC58-0EA8-4F63-8CEA-D814B48951F3}" dt="2024-12-03T11:44:25.515" v="19635" actId="299"/>
          <ac:spMkLst>
            <pc:docMk/>
            <pc:sldMk cId="3593772723" sldId="2147473984"/>
            <ac:spMk id="24" creationId="{C97DB243-50E3-8DB7-026D-6C2ECB356615}"/>
          </ac:spMkLst>
        </pc:spChg>
        <pc:spChg chg="add del mod ord">
          <ac:chgData name="Androleit, Sofia" userId="a235e272-1198-4b45-ad6e-d78819128082" providerId="ADAL" clId="{451BAC58-0EA8-4F63-8CEA-D814B48951F3}" dt="2024-12-03T10:09:48.357" v="10582" actId="948"/>
          <ac:spMkLst>
            <pc:docMk/>
            <pc:sldMk cId="3593772723" sldId="2147473984"/>
            <ac:spMk id="25" creationId="{A073FE0F-E719-64F3-1B80-77B424BA83CE}"/>
          </ac:spMkLst>
        </pc:spChg>
        <pc:spChg chg="add del mod modVis">
          <ac:chgData name="Androleit, Sofia" userId="a235e272-1198-4b45-ad6e-d78819128082" providerId="ADAL" clId="{451BAC58-0EA8-4F63-8CEA-D814B48951F3}" dt="2024-12-03T10:09:48.357" v="10581" actId="962"/>
          <ac:spMkLst>
            <pc:docMk/>
            <pc:sldMk cId="3593772723" sldId="2147473984"/>
            <ac:spMk id="26" creationId="{46103CAE-59F8-0D99-868D-245B1F601B53}"/>
          </ac:spMkLst>
        </pc:spChg>
        <pc:spChg chg="add del mod ord">
          <ac:chgData name="Androleit, Sofia" userId="a235e272-1198-4b45-ad6e-d78819128082" providerId="ADAL" clId="{451BAC58-0EA8-4F63-8CEA-D814B48951F3}" dt="2024-12-03T10:09:47.101" v="10264" actId="948"/>
          <ac:spMkLst>
            <pc:docMk/>
            <pc:sldMk cId="3593772723" sldId="2147473984"/>
            <ac:spMk id="27" creationId="{56E795BC-89E7-34CA-1291-CFDBFDB95F02}"/>
          </ac:spMkLst>
        </pc:spChg>
        <pc:spChg chg="add del mod modVis">
          <ac:chgData name="Androleit, Sofia" userId="a235e272-1198-4b45-ad6e-d78819128082" providerId="ADAL" clId="{451BAC58-0EA8-4F63-8CEA-D814B48951F3}" dt="2024-12-03T10:09:47.101" v="10263" actId="962"/>
          <ac:spMkLst>
            <pc:docMk/>
            <pc:sldMk cId="3593772723" sldId="2147473984"/>
            <ac:spMk id="28" creationId="{A973E1D8-96C4-E6A6-6D3C-E22B3FA074B8}"/>
          </ac:spMkLst>
        </pc:spChg>
        <pc:spChg chg="add del mod ord">
          <ac:chgData name="Androleit, Sofia" userId="a235e272-1198-4b45-ad6e-d78819128082" providerId="ADAL" clId="{451BAC58-0EA8-4F63-8CEA-D814B48951F3}" dt="2024-12-03T10:09:46.505" v="9915" actId="948"/>
          <ac:spMkLst>
            <pc:docMk/>
            <pc:sldMk cId="3593772723" sldId="2147473984"/>
            <ac:spMk id="29" creationId="{B0658FCF-B79A-B485-F039-0C7CA61A4518}"/>
          </ac:spMkLst>
        </pc:spChg>
        <pc:spChg chg="add del mod modVis">
          <ac:chgData name="Androleit, Sofia" userId="a235e272-1198-4b45-ad6e-d78819128082" providerId="ADAL" clId="{451BAC58-0EA8-4F63-8CEA-D814B48951F3}" dt="2024-12-03T10:09:46.505" v="9914" actId="962"/>
          <ac:spMkLst>
            <pc:docMk/>
            <pc:sldMk cId="3593772723" sldId="2147473984"/>
            <ac:spMk id="30" creationId="{C530DD61-1BB6-1E91-AE73-36DEBB5EEE0E}"/>
          </ac:spMkLst>
        </pc:spChg>
        <pc:spChg chg="add mod ord">
          <ac:chgData name="Androleit, Sofia" userId="a235e272-1198-4b45-ad6e-d78819128082" providerId="ADAL" clId="{451BAC58-0EA8-4F63-8CEA-D814B48951F3}" dt="2024-12-03T10:09:45.658" v="9734" actId="948"/>
          <ac:spMkLst>
            <pc:docMk/>
            <pc:sldMk cId="3593772723" sldId="2147473984"/>
            <ac:spMk id="31" creationId="{684B6E41-19F3-E87C-8886-BB0913160402}"/>
          </ac:spMkLst>
        </pc:spChg>
        <pc:spChg chg="add del mod modVis">
          <ac:chgData name="Androleit, Sofia" userId="a235e272-1198-4b45-ad6e-d78819128082" providerId="ADAL" clId="{451BAC58-0EA8-4F63-8CEA-D814B48951F3}" dt="2024-12-03T10:09:45.658" v="9733" actId="962"/>
          <ac:spMkLst>
            <pc:docMk/>
            <pc:sldMk cId="3593772723" sldId="2147473984"/>
            <ac:spMk id="32" creationId="{56123594-78B7-10A2-1DBD-C701113FE6B4}"/>
          </ac:spMkLst>
        </pc:spChg>
        <pc:spChg chg="add del mod modVis">
          <ac:chgData name="Androleit, Sofia" userId="a235e272-1198-4b45-ad6e-d78819128082" providerId="ADAL" clId="{451BAC58-0EA8-4F63-8CEA-D814B48951F3}" dt="2024-12-03T10:10:19.510" v="11287"/>
          <ac:spMkLst>
            <pc:docMk/>
            <pc:sldMk cId="3593772723" sldId="2147473984"/>
            <ac:spMk id="33" creationId="{75960139-E8B1-D941-EC1A-845FCA0AB8E6}"/>
          </ac:spMkLst>
        </pc:spChg>
        <pc:spChg chg="add del mod ord">
          <ac:chgData name="Androleit, Sofia" userId="a235e272-1198-4b45-ad6e-d78819128082" providerId="ADAL" clId="{451BAC58-0EA8-4F63-8CEA-D814B48951F3}" dt="2024-12-03T10:10:22.227" v="11364"/>
          <ac:spMkLst>
            <pc:docMk/>
            <pc:sldMk cId="3593772723" sldId="2147473984"/>
            <ac:spMk id="34" creationId="{608D57C6-2143-76D8-38E5-848FF5ED667D}"/>
          </ac:spMkLst>
        </pc:spChg>
        <pc:spChg chg="add mod ord">
          <ac:chgData name="Androleit, Sofia" userId="a235e272-1198-4b45-ad6e-d78819128082" providerId="ADAL" clId="{451BAC58-0EA8-4F63-8CEA-D814B48951F3}" dt="2024-12-03T11:44:25.515" v="19641" actId="299"/>
          <ac:spMkLst>
            <pc:docMk/>
            <pc:sldMk cId="3593772723" sldId="2147473984"/>
            <ac:spMk id="35" creationId="{8D836419-6689-FEDF-66C0-92B78DDB84C7}"/>
          </ac:spMkLst>
        </pc:spChg>
        <pc:spChg chg="add del mod modVis">
          <ac:chgData name="Androleit, Sofia" userId="a235e272-1198-4b45-ad6e-d78819128082" providerId="ADAL" clId="{451BAC58-0EA8-4F63-8CEA-D814B48951F3}" dt="2024-12-03T10:10:22.368" v="11485"/>
          <ac:spMkLst>
            <pc:docMk/>
            <pc:sldMk cId="3593772723" sldId="2147473984"/>
            <ac:spMk id="36" creationId="{57BE5E38-7931-C96A-E631-0E54F2DA0AA4}"/>
          </ac:spMkLst>
        </pc:spChg>
        <pc:spChg chg="add del mod ord">
          <ac:chgData name="Androleit, Sofia" userId="a235e272-1198-4b45-ad6e-d78819128082" providerId="ADAL" clId="{451BAC58-0EA8-4F63-8CEA-D814B48951F3}" dt="2024-12-03T10:10:27.546" v="11659"/>
          <ac:spMkLst>
            <pc:docMk/>
            <pc:sldMk cId="3593772723" sldId="2147473984"/>
            <ac:spMk id="37" creationId="{3F0895B2-172C-B443-7188-13EFF2F82FB1}"/>
          </ac:spMkLst>
        </pc:spChg>
        <pc:spChg chg="add del mod ord">
          <ac:chgData name="Androleit, Sofia" userId="a235e272-1198-4b45-ad6e-d78819128082" providerId="ADAL" clId="{451BAC58-0EA8-4F63-8CEA-D814B48951F3}" dt="2024-12-03T10:10:29.875" v="11840"/>
          <ac:spMkLst>
            <pc:docMk/>
            <pc:sldMk cId="3593772723" sldId="2147473984"/>
            <ac:spMk id="38" creationId="{3EB882AB-F356-B088-1B4A-848F9F433D15}"/>
          </ac:spMkLst>
        </pc:spChg>
        <pc:spChg chg="add del mod modVis">
          <ac:chgData name="Androleit, Sofia" userId="a235e272-1198-4b45-ad6e-d78819128082" providerId="ADAL" clId="{451BAC58-0EA8-4F63-8CEA-D814B48951F3}" dt="2024-12-03T10:10:27.693" v="11779"/>
          <ac:spMkLst>
            <pc:docMk/>
            <pc:sldMk cId="3593772723" sldId="2147473984"/>
            <ac:spMk id="39" creationId="{930BC3B1-D313-69EA-7F54-AAD58F056F7A}"/>
          </ac:spMkLst>
        </pc:spChg>
        <pc:spChg chg="add del mod ord">
          <ac:chgData name="Androleit, Sofia" userId="a235e272-1198-4b45-ad6e-d78819128082" providerId="ADAL" clId="{451BAC58-0EA8-4F63-8CEA-D814B48951F3}" dt="2024-12-03T10:10:30.878" v="12019"/>
          <ac:spMkLst>
            <pc:docMk/>
            <pc:sldMk cId="3593772723" sldId="2147473984"/>
            <ac:spMk id="40" creationId="{F5331EDE-DC07-D917-4293-7531F905D8B7}"/>
          </ac:spMkLst>
        </pc:spChg>
        <pc:spChg chg="add del mod modVis">
          <ac:chgData name="Androleit, Sofia" userId="a235e272-1198-4b45-ad6e-d78819128082" providerId="ADAL" clId="{451BAC58-0EA8-4F63-8CEA-D814B48951F3}" dt="2024-12-03T10:10:30.011" v="11960"/>
          <ac:spMkLst>
            <pc:docMk/>
            <pc:sldMk cId="3593772723" sldId="2147473984"/>
            <ac:spMk id="41" creationId="{94D369F3-85B0-E52B-1C00-BC4E65B8A2C4}"/>
          </ac:spMkLst>
        </pc:spChg>
        <pc:spChg chg="add del mod ord">
          <ac:chgData name="Androleit, Sofia" userId="a235e272-1198-4b45-ad6e-d78819128082" providerId="ADAL" clId="{451BAC58-0EA8-4F63-8CEA-D814B48951F3}" dt="2024-12-03T10:10:34.428" v="12203"/>
          <ac:spMkLst>
            <pc:docMk/>
            <pc:sldMk cId="3593772723" sldId="2147473984"/>
            <ac:spMk id="42" creationId="{D6C7E58F-3508-69F5-D4AC-C002873190A3}"/>
          </ac:spMkLst>
        </pc:spChg>
        <pc:spChg chg="add del mod modVis">
          <ac:chgData name="Androleit, Sofia" userId="a235e272-1198-4b45-ad6e-d78819128082" providerId="ADAL" clId="{451BAC58-0EA8-4F63-8CEA-D814B48951F3}" dt="2024-12-03T10:10:31.016" v="12139"/>
          <ac:spMkLst>
            <pc:docMk/>
            <pc:sldMk cId="3593772723" sldId="2147473984"/>
            <ac:spMk id="43" creationId="{A52B1316-5425-0561-BDE8-433F4A2B40AB}"/>
          </ac:spMkLst>
        </pc:spChg>
        <pc:spChg chg="add del mod ord">
          <ac:chgData name="Androleit, Sofia" userId="a235e272-1198-4b45-ad6e-d78819128082" providerId="ADAL" clId="{451BAC58-0EA8-4F63-8CEA-D814B48951F3}" dt="2024-12-03T10:10:35.199" v="12382"/>
          <ac:spMkLst>
            <pc:docMk/>
            <pc:sldMk cId="3593772723" sldId="2147473984"/>
            <ac:spMk id="44" creationId="{5B0208AD-C551-B734-DDB9-EEC35170B8AB}"/>
          </ac:spMkLst>
        </pc:spChg>
        <pc:spChg chg="add del mod modVis">
          <ac:chgData name="Androleit, Sofia" userId="a235e272-1198-4b45-ad6e-d78819128082" providerId="ADAL" clId="{451BAC58-0EA8-4F63-8CEA-D814B48951F3}" dt="2024-12-03T10:10:34.585" v="12323"/>
          <ac:spMkLst>
            <pc:docMk/>
            <pc:sldMk cId="3593772723" sldId="2147473984"/>
            <ac:spMk id="45" creationId="{5046F301-8872-C067-746A-F9534FDE25C1}"/>
          </ac:spMkLst>
        </pc:spChg>
        <pc:spChg chg="add del mod ord">
          <ac:chgData name="Androleit, Sofia" userId="a235e272-1198-4b45-ad6e-d78819128082" providerId="ADAL" clId="{451BAC58-0EA8-4F63-8CEA-D814B48951F3}" dt="2024-12-03T10:10:37.553" v="12565"/>
          <ac:spMkLst>
            <pc:docMk/>
            <pc:sldMk cId="3593772723" sldId="2147473984"/>
            <ac:spMk id="46" creationId="{4283EA6A-262E-B892-4F8F-BAD559082A13}"/>
          </ac:spMkLst>
        </pc:spChg>
        <pc:spChg chg="add del mod modVis">
          <ac:chgData name="Androleit, Sofia" userId="a235e272-1198-4b45-ad6e-d78819128082" providerId="ADAL" clId="{451BAC58-0EA8-4F63-8CEA-D814B48951F3}" dt="2024-12-03T10:10:35.387" v="12502"/>
          <ac:spMkLst>
            <pc:docMk/>
            <pc:sldMk cId="3593772723" sldId="2147473984"/>
            <ac:spMk id="47" creationId="{1174196C-FDFB-016B-9F04-A58BCEB379A3}"/>
          </ac:spMkLst>
        </pc:spChg>
        <pc:spChg chg="add del mod ord">
          <ac:chgData name="Androleit, Sofia" userId="a235e272-1198-4b45-ad6e-d78819128082" providerId="ADAL" clId="{451BAC58-0EA8-4F63-8CEA-D814B48951F3}" dt="2024-12-03T10:10:38.275" v="12740"/>
          <ac:spMkLst>
            <pc:docMk/>
            <pc:sldMk cId="3593772723" sldId="2147473984"/>
            <ac:spMk id="48" creationId="{4274BA36-A660-F049-EA59-A4426E7A4F5F}"/>
          </ac:spMkLst>
        </pc:spChg>
        <pc:spChg chg="add del mod modVis">
          <ac:chgData name="Androleit, Sofia" userId="a235e272-1198-4b45-ad6e-d78819128082" providerId="ADAL" clId="{451BAC58-0EA8-4F63-8CEA-D814B48951F3}" dt="2024-12-03T10:10:37.710" v="12685"/>
          <ac:spMkLst>
            <pc:docMk/>
            <pc:sldMk cId="3593772723" sldId="2147473984"/>
            <ac:spMk id="49" creationId="{779FE4A0-2837-91CB-1BEE-AC258751318E}"/>
          </ac:spMkLst>
        </pc:spChg>
        <pc:spChg chg="add del mod ord">
          <ac:chgData name="Androleit, Sofia" userId="a235e272-1198-4b45-ad6e-d78819128082" providerId="ADAL" clId="{451BAC58-0EA8-4F63-8CEA-D814B48951F3}" dt="2024-12-03T11:44:25.453" v="19587"/>
          <ac:spMkLst>
            <pc:docMk/>
            <pc:sldMk cId="3593772723" sldId="2147473984"/>
            <ac:spMk id="50" creationId="{57097AA8-62EF-795D-67B3-8445B52201CE}"/>
          </ac:spMkLst>
        </pc:spChg>
        <pc:spChg chg="add del mod modVis">
          <ac:chgData name="Androleit, Sofia" userId="a235e272-1198-4b45-ad6e-d78819128082" providerId="ADAL" clId="{451BAC58-0EA8-4F63-8CEA-D814B48951F3}" dt="2024-12-03T10:10:38.416" v="12860"/>
          <ac:spMkLst>
            <pc:docMk/>
            <pc:sldMk cId="3593772723" sldId="2147473984"/>
            <ac:spMk id="51" creationId="{1CFD40AC-46BC-DDD0-A5E5-80D3EBC1043E}"/>
          </ac:spMkLst>
        </pc:spChg>
        <pc:spChg chg="add del mod modVis">
          <ac:chgData name="Androleit, Sofia" userId="a235e272-1198-4b45-ad6e-d78819128082" providerId="ADAL" clId="{451BAC58-0EA8-4F63-8CEA-D814B48951F3}" dt="2024-12-03T10:43:35.770" v="15580"/>
          <ac:spMkLst>
            <pc:docMk/>
            <pc:sldMk cId="3593772723" sldId="2147473984"/>
            <ac:spMk id="52" creationId="{6CAE7B98-E7D8-CBAA-0275-DDCF794D1999}"/>
          </ac:spMkLst>
        </pc:spChg>
        <pc:graphicFrameChg chg="mod">
          <ac:chgData name="Androleit, Sofia" userId="a235e272-1198-4b45-ad6e-d78819128082" providerId="ADAL" clId="{451BAC58-0EA8-4F63-8CEA-D814B48951F3}" dt="2024-12-03T11:44:25.578" v="19647"/>
          <ac:graphicFrameMkLst>
            <pc:docMk/>
            <pc:sldMk cId="3593772723" sldId="2147473984"/>
            <ac:graphicFrameMk id="6" creationId="{56028E92-FE70-7F3A-1143-B30D5BE90A20}"/>
          </ac:graphicFrameMkLst>
        </pc:graphicFrameChg>
      </pc:sldChg>
      <pc:sldChg chg="addSp delSp modSp del mod modTransition">
        <pc:chgData name="Androleit, Sofia" userId="a235e272-1198-4b45-ad6e-d78819128082" providerId="ADAL" clId="{451BAC58-0EA8-4F63-8CEA-D814B48951F3}" dt="2024-12-03T11:44:24.885" v="19557" actId="2696"/>
        <pc:sldMkLst>
          <pc:docMk/>
          <pc:sldMk cId="3968226123" sldId="2147473985"/>
        </pc:sldMkLst>
        <pc:spChg chg="mod ord">
          <ac:chgData name="Androleit, Sofia" userId="a235e272-1198-4b45-ad6e-d78819128082" providerId="ADAL" clId="{451BAC58-0EA8-4F63-8CEA-D814B48951F3}" dt="2024-12-03T11:39:56.454" v="19158" actId="948"/>
          <ac:spMkLst>
            <pc:docMk/>
            <pc:sldMk cId="3968226123" sldId="2147473985"/>
            <ac:spMk id="2" creationId="{419A0FBB-9F69-06E6-7FB9-876FE6695F32}"/>
          </ac:spMkLst>
        </pc:spChg>
        <pc:spChg chg="mod ord">
          <ac:chgData name="Androleit, Sofia" userId="a235e272-1198-4b45-ad6e-d78819128082" providerId="ADAL" clId="{451BAC58-0EA8-4F63-8CEA-D814B48951F3}" dt="2024-12-03T10:43:35.756" v="15556"/>
          <ac:spMkLst>
            <pc:docMk/>
            <pc:sldMk cId="3968226123" sldId="2147473985"/>
            <ac:spMk id="3" creationId="{DE5862B4-95A9-EBF7-A0A0-D186060D49A4}"/>
          </ac:spMkLst>
        </pc:spChg>
        <pc:spChg chg="del mod ord">
          <ac:chgData name="Androleit, Sofia" userId="a235e272-1198-4b45-ad6e-d78819128082" providerId="ADAL" clId="{451BAC58-0EA8-4F63-8CEA-D814B48951F3}" dt="2024-12-03T10:07:14.218" v="901"/>
          <ac:spMkLst>
            <pc:docMk/>
            <pc:sldMk cId="3968226123" sldId="2147473985"/>
            <ac:spMk id="4" creationId="{8343B4C9-30EF-A68E-281D-3982EFC7E4B8}"/>
          </ac:spMkLst>
        </pc:spChg>
        <pc:spChg chg="add del mod modVis">
          <ac:chgData name="Androleit, Sofia" userId="a235e272-1198-4b45-ad6e-d78819128082" providerId="ADAL" clId="{451BAC58-0EA8-4F63-8CEA-D814B48951F3}" dt="2024-12-03T10:06:23.203" v="542"/>
          <ac:spMkLst>
            <pc:docMk/>
            <pc:sldMk cId="3968226123" sldId="2147473985"/>
            <ac:spMk id="5" creationId="{E620237D-70D2-9F25-6C99-8CE445A039B3}"/>
          </ac:spMkLst>
        </pc:spChg>
        <pc:spChg chg="add del mod ord">
          <ac:chgData name="Androleit, Sofia" userId="a235e272-1198-4b45-ad6e-d78819128082" providerId="ADAL" clId="{451BAC58-0EA8-4F63-8CEA-D814B48951F3}" dt="2024-12-03T10:07:16.872" v="1144"/>
          <ac:spMkLst>
            <pc:docMk/>
            <pc:sldMk cId="3968226123" sldId="2147473985"/>
            <ac:spMk id="7" creationId="{DE862654-EA21-E37C-170C-8CDD0C91B0F9}"/>
          </ac:spMkLst>
        </pc:spChg>
        <pc:spChg chg="del mod ord">
          <ac:chgData name="Androleit, Sofia" userId="a235e272-1198-4b45-ad6e-d78819128082" providerId="ADAL" clId="{451BAC58-0EA8-4F63-8CEA-D814B48951F3}" dt="2024-12-03T10:08:08.551" v="3306"/>
          <ac:spMkLst>
            <pc:docMk/>
            <pc:sldMk cId="3968226123" sldId="2147473985"/>
            <ac:spMk id="8" creationId="{4242D622-723F-795D-8F3B-3FA66C4B52D8}"/>
          </ac:spMkLst>
        </pc:spChg>
        <pc:spChg chg="del mod ord">
          <ac:chgData name="Androleit, Sofia" userId="a235e272-1198-4b45-ad6e-d78819128082" providerId="ADAL" clId="{451BAC58-0EA8-4F63-8CEA-D814B48951F3}" dt="2024-12-03T10:09:12.538" v="7565"/>
          <ac:spMkLst>
            <pc:docMk/>
            <pc:sldMk cId="3968226123" sldId="2147473985"/>
            <ac:spMk id="9" creationId="{F6A5C522-56DD-1B27-2C81-3CA7CDC05E0A}"/>
          </ac:spMkLst>
        </pc:spChg>
        <pc:spChg chg="add del mod ord">
          <ac:chgData name="Androleit, Sofia" userId="a235e272-1198-4b45-ad6e-d78819128082" providerId="ADAL" clId="{451BAC58-0EA8-4F63-8CEA-D814B48951F3}" dt="2024-12-03T10:07:17.202" v="1377"/>
          <ac:spMkLst>
            <pc:docMk/>
            <pc:sldMk cId="3968226123" sldId="2147473985"/>
            <ac:spMk id="10" creationId="{0E171B83-314A-2CA4-9A60-F1A9F933D7C2}"/>
          </ac:spMkLst>
        </pc:spChg>
        <pc:spChg chg="add del mod ord">
          <ac:chgData name="Androleit, Sofia" userId="a235e272-1198-4b45-ad6e-d78819128082" providerId="ADAL" clId="{451BAC58-0EA8-4F63-8CEA-D814B48951F3}" dt="2024-12-03T10:07:18.243" v="1613"/>
          <ac:spMkLst>
            <pc:docMk/>
            <pc:sldMk cId="3968226123" sldId="2147473985"/>
            <ac:spMk id="11" creationId="{38194440-D984-4193-594C-2B6FB3943E25}"/>
          </ac:spMkLst>
        </pc:spChg>
        <pc:spChg chg="add mod ord">
          <ac:chgData name="Androleit, Sofia" userId="a235e272-1198-4b45-ad6e-d78819128082" providerId="ADAL" clId="{451BAC58-0EA8-4F63-8CEA-D814B48951F3}" dt="2024-12-03T11:39:56.423" v="19141" actId="948"/>
          <ac:spMkLst>
            <pc:docMk/>
            <pc:sldMk cId="3968226123" sldId="2147473985"/>
            <ac:spMk id="12" creationId="{A584EB01-E31A-CBC9-F41D-F02BABCBFB68}"/>
          </ac:spMkLst>
        </pc:spChg>
        <pc:spChg chg="del mod ord">
          <ac:chgData name="Androleit, Sofia" userId="a235e272-1198-4b45-ad6e-d78819128082" providerId="ADAL" clId="{451BAC58-0EA8-4F63-8CEA-D814B48951F3}" dt="2024-12-03T10:09:20.509" v="7866"/>
          <ac:spMkLst>
            <pc:docMk/>
            <pc:sldMk cId="3968226123" sldId="2147473985"/>
            <ac:spMk id="13" creationId="{945E4A49-BCD4-C5CB-FA92-F941329DC3AD}"/>
          </ac:spMkLst>
        </pc:spChg>
        <pc:spChg chg="del mod ord">
          <ac:chgData name="Androleit, Sofia" userId="a235e272-1198-4b45-ad6e-d78819128082" providerId="ADAL" clId="{451BAC58-0EA8-4F63-8CEA-D814B48951F3}" dt="2024-12-03T10:10:25.787" v="11540"/>
          <ac:spMkLst>
            <pc:docMk/>
            <pc:sldMk cId="3968226123" sldId="2147473985"/>
            <ac:spMk id="14" creationId="{0DEE01F4-699C-920B-2360-EA88ECB3B011}"/>
          </ac:spMkLst>
        </pc:spChg>
        <pc:spChg chg="del mod ord">
          <ac:chgData name="Androleit, Sofia" userId="a235e272-1198-4b45-ad6e-d78819128082" providerId="ADAL" clId="{451BAC58-0EA8-4F63-8CEA-D814B48951F3}" dt="2024-12-03T10:10:19.211" v="10984"/>
          <ac:spMkLst>
            <pc:docMk/>
            <pc:sldMk cId="3968226123" sldId="2147473985"/>
            <ac:spMk id="15" creationId="{680845F9-4182-54D5-1FF3-2C149595E45C}"/>
          </ac:spMkLst>
        </pc:spChg>
        <pc:spChg chg="add del mod ord">
          <ac:chgData name="Androleit, Sofia" userId="a235e272-1198-4b45-ad6e-d78819128082" providerId="ADAL" clId="{451BAC58-0EA8-4F63-8CEA-D814B48951F3}" dt="2024-12-03T10:08:09.352" v="3529"/>
          <ac:spMkLst>
            <pc:docMk/>
            <pc:sldMk cId="3968226123" sldId="2147473985"/>
            <ac:spMk id="16" creationId="{61DC6EA2-30F1-BB63-A156-3F0CA2D42871}"/>
          </ac:spMkLst>
        </pc:spChg>
        <pc:spChg chg="add del mod ord">
          <ac:chgData name="Androleit, Sofia" userId="a235e272-1198-4b45-ad6e-d78819128082" providerId="ADAL" clId="{451BAC58-0EA8-4F63-8CEA-D814B48951F3}" dt="2024-12-03T10:08:14.051" v="3909"/>
          <ac:spMkLst>
            <pc:docMk/>
            <pc:sldMk cId="3968226123" sldId="2147473985"/>
            <ac:spMk id="17" creationId="{2FF8EFEA-C142-D22E-5282-F37393EC2535}"/>
          </ac:spMkLst>
        </pc:spChg>
        <pc:spChg chg="add del mod ord">
          <ac:chgData name="Androleit, Sofia" userId="a235e272-1198-4b45-ad6e-d78819128082" providerId="ADAL" clId="{451BAC58-0EA8-4F63-8CEA-D814B48951F3}" dt="2024-12-03T10:08:16.595" v="4312"/>
          <ac:spMkLst>
            <pc:docMk/>
            <pc:sldMk cId="3968226123" sldId="2147473985"/>
            <ac:spMk id="18" creationId="{1CB5EC3F-5B48-B260-93E3-C160C896C364}"/>
          </ac:spMkLst>
        </pc:spChg>
        <pc:spChg chg="add del mod modVis">
          <ac:chgData name="Androleit, Sofia" userId="a235e272-1198-4b45-ad6e-d78819128082" providerId="ADAL" clId="{451BAC58-0EA8-4F63-8CEA-D814B48951F3}" dt="2024-12-03T10:08:14.192" v="4098"/>
          <ac:spMkLst>
            <pc:docMk/>
            <pc:sldMk cId="3968226123" sldId="2147473985"/>
            <ac:spMk id="19" creationId="{4A6982C6-2DF4-853D-55EE-060DD462FB70}"/>
          </ac:spMkLst>
        </pc:spChg>
        <pc:spChg chg="add mod ord">
          <ac:chgData name="Androleit, Sofia" userId="a235e272-1198-4b45-ad6e-d78819128082" providerId="ADAL" clId="{451BAC58-0EA8-4F63-8CEA-D814B48951F3}" dt="2024-12-03T11:39:56.423" v="19142" actId="948"/>
          <ac:spMkLst>
            <pc:docMk/>
            <pc:sldMk cId="3968226123" sldId="2147473985"/>
            <ac:spMk id="20" creationId="{A866BDB2-B76B-7A71-49B7-310B9138638B}"/>
          </ac:spMkLst>
        </pc:spChg>
        <pc:spChg chg="add del mod modVis">
          <ac:chgData name="Androleit, Sofia" userId="a235e272-1198-4b45-ad6e-d78819128082" providerId="ADAL" clId="{451BAC58-0EA8-4F63-8CEA-D814B48951F3}" dt="2024-12-03T10:08:16.736" v="4501"/>
          <ac:spMkLst>
            <pc:docMk/>
            <pc:sldMk cId="3968226123" sldId="2147473985"/>
            <ac:spMk id="21" creationId="{1F81AAD4-E4B6-3D81-DCCE-6247533746DA}"/>
          </ac:spMkLst>
        </pc:spChg>
        <pc:spChg chg="add del mod ord">
          <ac:chgData name="Androleit, Sofia" userId="a235e272-1198-4b45-ad6e-d78819128082" providerId="ADAL" clId="{451BAC58-0EA8-4F63-8CEA-D814B48951F3}" dt="2024-12-03T10:08:23.280" v="5398"/>
          <ac:spMkLst>
            <pc:docMk/>
            <pc:sldMk cId="3968226123" sldId="2147473985"/>
            <ac:spMk id="22" creationId="{69362639-A3DC-B50A-C326-E6BD9A5BB8C8}"/>
          </ac:spMkLst>
        </pc:spChg>
        <pc:spChg chg="add del mod modVis">
          <ac:chgData name="Androleit, Sofia" userId="a235e272-1198-4b45-ad6e-d78819128082" providerId="ADAL" clId="{451BAC58-0EA8-4F63-8CEA-D814B48951F3}" dt="2024-12-03T10:08:20.534" v="5244"/>
          <ac:spMkLst>
            <pc:docMk/>
            <pc:sldMk cId="3968226123" sldId="2147473985"/>
            <ac:spMk id="23" creationId="{D433A8FD-32CB-6271-6237-8E4D0B12D566}"/>
          </ac:spMkLst>
        </pc:spChg>
        <pc:spChg chg="add mod ord">
          <ac:chgData name="Androleit, Sofia" userId="a235e272-1198-4b45-ad6e-d78819128082" providerId="ADAL" clId="{451BAC58-0EA8-4F63-8CEA-D814B48951F3}" dt="2024-12-03T11:39:56.423" v="19143" actId="948"/>
          <ac:spMkLst>
            <pc:docMk/>
            <pc:sldMk cId="3968226123" sldId="2147473985"/>
            <ac:spMk id="24" creationId="{1F09964D-5AAC-3CE7-A37B-DEB03F575593}"/>
          </ac:spMkLst>
        </pc:spChg>
        <pc:spChg chg="add del mod ord">
          <ac:chgData name="Androleit, Sofia" userId="a235e272-1198-4b45-ad6e-d78819128082" providerId="ADAL" clId="{451BAC58-0EA8-4F63-8CEA-D814B48951F3}" dt="2024-12-03T10:09:48.357" v="10567" actId="948"/>
          <ac:spMkLst>
            <pc:docMk/>
            <pc:sldMk cId="3968226123" sldId="2147473985"/>
            <ac:spMk id="25" creationId="{2F365320-6047-E267-615B-86CF00DD8CDD}"/>
          </ac:spMkLst>
        </pc:spChg>
        <pc:spChg chg="add del mod modVis">
          <ac:chgData name="Androleit, Sofia" userId="a235e272-1198-4b45-ad6e-d78819128082" providerId="ADAL" clId="{451BAC58-0EA8-4F63-8CEA-D814B48951F3}" dt="2024-12-03T10:09:48.357" v="10566" actId="962"/>
          <ac:spMkLst>
            <pc:docMk/>
            <pc:sldMk cId="3968226123" sldId="2147473985"/>
            <ac:spMk id="26" creationId="{44244AC4-3A2E-67C7-2389-838CD5A54D81}"/>
          </ac:spMkLst>
        </pc:spChg>
        <pc:spChg chg="add del mod ord">
          <ac:chgData name="Androleit, Sofia" userId="a235e272-1198-4b45-ad6e-d78819128082" providerId="ADAL" clId="{451BAC58-0EA8-4F63-8CEA-D814B48951F3}" dt="2024-12-03T10:09:47.101" v="10247" actId="948"/>
          <ac:spMkLst>
            <pc:docMk/>
            <pc:sldMk cId="3968226123" sldId="2147473985"/>
            <ac:spMk id="27" creationId="{65A1F29A-0207-D775-B503-C5DA3D2A1A3D}"/>
          </ac:spMkLst>
        </pc:spChg>
        <pc:spChg chg="add del mod modVis">
          <ac:chgData name="Androleit, Sofia" userId="a235e272-1198-4b45-ad6e-d78819128082" providerId="ADAL" clId="{451BAC58-0EA8-4F63-8CEA-D814B48951F3}" dt="2024-12-03T10:09:47.101" v="10246" actId="962"/>
          <ac:spMkLst>
            <pc:docMk/>
            <pc:sldMk cId="3968226123" sldId="2147473985"/>
            <ac:spMk id="28" creationId="{98B66DB4-02FB-19B1-54DF-3F3BFF89EBD6}"/>
          </ac:spMkLst>
        </pc:spChg>
        <pc:spChg chg="add del mod ord">
          <ac:chgData name="Androleit, Sofia" userId="a235e272-1198-4b45-ad6e-d78819128082" providerId="ADAL" clId="{451BAC58-0EA8-4F63-8CEA-D814B48951F3}" dt="2024-12-03T10:09:46.496" v="9898" actId="948"/>
          <ac:spMkLst>
            <pc:docMk/>
            <pc:sldMk cId="3968226123" sldId="2147473985"/>
            <ac:spMk id="29" creationId="{23AC62D1-C53F-684E-F647-5EF538BC3FD3}"/>
          </ac:spMkLst>
        </pc:spChg>
        <pc:spChg chg="add del mod modVis">
          <ac:chgData name="Androleit, Sofia" userId="a235e272-1198-4b45-ad6e-d78819128082" providerId="ADAL" clId="{451BAC58-0EA8-4F63-8CEA-D814B48951F3}" dt="2024-12-03T10:09:46.496" v="9897" actId="962"/>
          <ac:spMkLst>
            <pc:docMk/>
            <pc:sldMk cId="3968226123" sldId="2147473985"/>
            <ac:spMk id="30" creationId="{CDB27904-8889-E2D2-4669-357DC012335F}"/>
          </ac:spMkLst>
        </pc:spChg>
        <pc:spChg chg="add mod ord">
          <ac:chgData name="Androleit, Sofia" userId="a235e272-1198-4b45-ad6e-d78819128082" providerId="ADAL" clId="{451BAC58-0EA8-4F63-8CEA-D814B48951F3}" dt="2024-12-03T10:09:45.658" v="9717" actId="948"/>
          <ac:spMkLst>
            <pc:docMk/>
            <pc:sldMk cId="3968226123" sldId="2147473985"/>
            <ac:spMk id="31" creationId="{FF357608-C2CD-5BA0-B7F4-CF0D994581E4}"/>
          </ac:spMkLst>
        </pc:spChg>
        <pc:spChg chg="add del mod modVis">
          <ac:chgData name="Androleit, Sofia" userId="a235e272-1198-4b45-ad6e-d78819128082" providerId="ADAL" clId="{451BAC58-0EA8-4F63-8CEA-D814B48951F3}" dt="2024-12-03T10:09:45.658" v="9716" actId="962"/>
          <ac:spMkLst>
            <pc:docMk/>
            <pc:sldMk cId="3968226123" sldId="2147473985"/>
            <ac:spMk id="32" creationId="{127CE299-5A53-23EA-3078-B33442798F0A}"/>
          </ac:spMkLst>
        </pc:spChg>
        <pc:spChg chg="add del mod modVis">
          <ac:chgData name="Androleit, Sofia" userId="a235e272-1198-4b45-ad6e-d78819128082" providerId="ADAL" clId="{451BAC58-0EA8-4F63-8CEA-D814B48951F3}" dt="2024-12-03T10:10:19.510" v="11299"/>
          <ac:spMkLst>
            <pc:docMk/>
            <pc:sldMk cId="3968226123" sldId="2147473985"/>
            <ac:spMk id="33" creationId="{B3FB231E-FDFA-2225-79A3-B4D9BA16C7C1}"/>
          </ac:spMkLst>
        </pc:spChg>
        <pc:spChg chg="add del mod ord">
          <ac:chgData name="Androleit, Sofia" userId="a235e272-1198-4b45-ad6e-d78819128082" providerId="ADAL" clId="{451BAC58-0EA8-4F63-8CEA-D814B48951F3}" dt="2024-12-03T10:10:22.290" v="11404"/>
          <ac:spMkLst>
            <pc:docMk/>
            <pc:sldMk cId="3968226123" sldId="2147473985"/>
            <ac:spMk id="34" creationId="{2E0A032E-D817-9F45-E23B-51D628C2C41E}"/>
          </ac:spMkLst>
        </pc:spChg>
        <pc:spChg chg="add mod ord">
          <ac:chgData name="Androleit, Sofia" userId="a235e272-1198-4b45-ad6e-d78819128082" providerId="ADAL" clId="{451BAC58-0EA8-4F63-8CEA-D814B48951F3}" dt="2024-12-03T11:39:56.423" v="19144" actId="948"/>
          <ac:spMkLst>
            <pc:docMk/>
            <pc:sldMk cId="3968226123" sldId="2147473985"/>
            <ac:spMk id="35" creationId="{10C15FB1-68A2-8F97-339A-314391739B65}"/>
          </ac:spMkLst>
        </pc:spChg>
        <pc:spChg chg="add del mod modVis">
          <ac:chgData name="Androleit, Sofia" userId="a235e272-1198-4b45-ad6e-d78819128082" providerId="ADAL" clId="{451BAC58-0EA8-4F63-8CEA-D814B48951F3}" dt="2024-12-03T10:10:22.384" v="11493"/>
          <ac:spMkLst>
            <pc:docMk/>
            <pc:sldMk cId="3968226123" sldId="2147473985"/>
            <ac:spMk id="36" creationId="{53663FC7-21D6-9092-F5D0-F7B01CFF4041}"/>
          </ac:spMkLst>
        </pc:spChg>
        <pc:spChg chg="add del mod ord">
          <ac:chgData name="Androleit, Sofia" userId="a235e272-1198-4b45-ad6e-d78819128082" providerId="ADAL" clId="{451BAC58-0EA8-4F63-8CEA-D814B48951F3}" dt="2024-12-03T10:10:27.594" v="11696"/>
          <ac:spMkLst>
            <pc:docMk/>
            <pc:sldMk cId="3968226123" sldId="2147473985"/>
            <ac:spMk id="37" creationId="{81079280-BC55-5871-F600-CDBB1FE178B0}"/>
          </ac:spMkLst>
        </pc:spChg>
        <pc:spChg chg="add del mod ord">
          <ac:chgData name="Androleit, Sofia" userId="a235e272-1198-4b45-ad6e-d78819128082" providerId="ADAL" clId="{451BAC58-0EA8-4F63-8CEA-D814B48951F3}" dt="2024-12-03T10:10:29.929" v="11877"/>
          <ac:spMkLst>
            <pc:docMk/>
            <pc:sldMk cId="3968226123" sldId="2147473985"/>
            <ac:spMk id="38" creationId="{9E4AA825-68CE-C945-7FAB-F5EFA3EDCE83}"/>
          </ac:spMkLst>
        </pc:spChg>
        <pc:spChg chg="add del mod modVis">
          <ac:chgData name="Androleit, Sofia" userId="a235e272-1198-4b45-ad6e-d78819128082" providerId="ADAL" clId="{451BAC58-0EA8-4F63-8CEA-D814B48951F3}" dt="2024-12-03T10:10:27.702" v="11787"/>
          <ac:spMkLst>
            <pc:docMk/>
            <pc:sldMk cId="3968226123" sldId="2147473985"/>
            <ac:spMk id="39" creationId="{5F4C3E64-9AF4-197A-069E-372C8A44D880}"/>
          </ac:spMkLst>
        </pc:spChg>
        <pc:spChg chg="add del mod ord">
          <ac:chgData name="Androleit, Sofia" userId="a235e272-1198-4b45-ad6e-d78819128082" providerId="ADAL" clId="{451BAC58-0EA8-4F63-8CEA-D814B48951F3}" dt="2024-12-03T10:10:30.930" v="12056"/>
          <ac:spMkLst>
            <pc:docMk/>
            <pc:sldMk cId="3968226123" sldId="2147473985"/>
            <ac:spMk id="40" creationId="{8E5CF173-B79A-724D-FBC1-4B9EB86C4B59}"/>
          </ac:spMkLst>
        </pc:spChg>
        <pc:spChg chg="add del mod modVis">
          <ac:chgData name="Androleit, Sofia" userId="a235e272-1198-4b45-ad6e-d78819128082" providerId="ADAL" clId="{451BAC58-0EA8-4F63-8CEA-D814B48951F3}" dt="2024-12-03T10:10:30.026" v="11968"/>
          <ac:spMkLst>
            <pc:docMk/>
            <pc:sldMk cId="3968226123" sldId="2147473985"/>
            <ac:spMk id="41" creationId="{5FADEEB2-F7B7-3A19-7D55-3B016AA837D6}"/>
          </ac:spMkLst>
        </pc:spChg>
        <pc:spChg chg="add del mod ord">
          <ac:chgData name="Androleit, Sofia" userId="a235e272-1198-4b45-ad6e-d78819128082" providerId="ADAL" clId="{451BAC58-0EA8-4F63-8CEA-D814B48951F3}" dt="2024-12-03T10:10:34.491" v="12240"/>
          <ac:spMkLst>
            <pc:docMk/>
            <pc:sldMk cId="3968226123" sldId="2147473985"/>
            <ac:spMk id="42" creationId="{51012FCE-7EC2-536C-A74D-15EF43A1EC32}"/>
          </ac:spMkLst>
        </pc:spChg>
        <pc:spChg chg="add del mod modVis">
          <ac:chgData name="Androleit, Sofia" userId="a235e272-1198-4b45-ad6e-d78819128082" providerId="ADAL" clId="{451BAC58-0EA8-4F63-8CEA-D814B48951F3}" dt="2024-12-03T10:10:31.031" v="12147"/>
          <ac:spMkLst>
            <pc:docMk/>
            <pc:sldMk cId="3968226123" sldId="2147473985"/>
            <ac:spMk id="43" creationId="{9C4E4666-652B-E708-7D28-C265063C8F68}"/>
          </ac:spMkLst>
        </pc:spChg>
        <pc:spChg chg="add del mod ord">
          <ac:chgData name="Androleit, Sofia" userId="a235e272-1198-4b45-ad6e-d78819128082" providerId="ADAL" clId="{451BAC58-0EA8-4F63-8CEA-D814B48951F3}" dt="2024-12-03T10:10:35.262" v="12419"/>
          <ac:spMkLst>
            <pc:docMk/>
            <pc:sldMk cId="3968226123" sldId="2147473985"/>
            <ac:spMk id="44" creationId="{9B875116-4BDF-498D-3CB6-D55AC8E98EA2}"/>
          </ac:spMkLst>
        </pc:spChg>
        <pc:spChg chg="add del mod modVis">
          <ac:chgData name="Androleit, Sofia" userId="a235e272-1198-4b45-ad6e-d78819128082" providerId="ADAL" clId="{451BAC58-0EA8-4F63-8CEA-D814B48951F3}" dt="2024-12-03T10:10:34.585" v="12331"/>
          <ac:spMkLst>
            <pc:docMk/>
            <pc:sldMk cId="3968226123" sldId="2147473985"/>
            <ac:spMk id="45" creationId="{28C7F568-85A5-55EC-1238-14864D983C96}"/>
          </ac:spMkLst>
        </pc:spChg>
        <pc:spChg chg="add del mod ord">
          <ac:chgData name="Androleit, Sofia" userId="a235e272-1198-4b45-ad6e-d78819128082" providerId="ADAL" clId="{451BAC58-0EA8-4F63-8CEA-D814B48951F3}" dt="2024-12-03T10:10:37.601" v="12602"/>
          <ac:spMkLst>
            <pc:docMk/>
            <pc:sldMk cId="3968226123" sldId="2147473985"/>
            <ac:spMk id="46" creationId="{40F633BC-57A4-195A-CF83-FB85BE7262AA}"/>
          </ac:spMkLst>
        </pc:spChg>
        <pc:spChg chg="add del mod modVis">
          <ac:chgData name="Androleit, Sofia" userId="a235e272-1198-4b45-ad6e-d78819128082" providerId="ADAL" clId="{451BAC58-0EA8-4F63-8CEA-D814B48951F3}" dt="2024-12-03T10:10:35.403" v="12510"/>
          <ac:spMkLst>
            <pc:docMk/>
            <pc:sldMk cId="3968226123" sldId="2147473985"/>
            <ac:spMk id="47" creationId="{84871540-7D87-D176-34DC-9020BF4E9929}"/>
          </ac:spMkLst>
        </pc:spChg>
        <pc:spChg chg="add del mod ord">
          <ac:chgData name="Androleit, Sofia" userId="a235e272-1198-4b45-ad6e-d78819128082" providerId="ADAL" clId="{451BAC58-0EA8-4F63-8CEA-D814B48951F3}" dt="2024-12-03T10:10:38.322" v="12777"/>
          <ac:spMkLst>
            <pc:docMk/>
            <pc:sldMk cId="3968226123" sldId="2147473985"/>
            <ac:spMk id="48" creationId="{24545A52-B079-A4DD-290F-9970648E5963}"/>
          </ac:spMkLst>
        </pc:spChg>
        <pc:spChg chg="add del mod modVis">
          <ac:chgData name="Androleit, Sofia" userId="a235e272-1198-4b45-ad6e-d78819128082" providerId="ADAL" clId="{451BAC58-0EA8-4F63-8CEA-D814B48951F3}" dt="2024-12-03T10:10:37.710" v="12693"/>
          <ac:spMkLst>
            <pc:docMk/>
            <pc:sldMk cId="3968226123" sldId="2147473985"/>
            <ac:spMk id="49" creationId="{2AF5F485-E5E0-E9AB-ED67-7935E8CB3F00}"/>
          </ac:spMkLst>
        </pc:spChg>
        <pc:spChg chg="add mod ord">
          <ac:chgData name="Androleit, Sofia" userId="a235e272-1198-4b45-ad6e-d78819128082" providerId="ADAL" clId="{451BAC58-0EA8-4F63-8CEA-D814B48951F3}" dt="2024-12-03T11:39:56.423" v="19145" actId="948"/>
          <ac:spMkLst>
            <pc:docMk/>
            <pc:sldMk cId="3968226123" sldId="2147473985"/>
            <ac:spMk id="50" creationId="{96605939-ACFA-B19A-7CC9-D45D06EBE6FA}"/>
          </ac:spMkLst>
        </pc:spChg>
        <pc:spChg chg="add del mod modVis">
          <ac:chgData name="Androleit, Sofia" userId="a235e272-1198-4b45-ad6e-d78819128082" providerId="ADAL" clId="{451BAC58-0EA8-4F63-8CEA-D814B48951F3}" dt="2024-12-03T10:10:38.432" v="12868"/>
          <ac:spMkLst>
            <pc:docMk/>
            <pc:sldMk cId="3968226123" sldId="2147473985"/>
            <ac:spMk id="51" creationId="{A92AF39A-07B2-B584-18BB-536800361DF1}"/>
          </ac:spMkLst>
        </pc:spChg>
        <pc:spChg chg="add del mod modVis">
          <ac:chgData name="Androleit, Sofia" userId="a235e272-1198-4b45-ad6e-d78819128082" providerId="ADAL" clId="{451BAC58-0EA8-4F63-8CEA-D814B48951F3}" dt="2024-12-03T10:43:35.782" v="15592"/>
          <ac:spMkLst>
            <pc:docMk/>
            <pc:sldMk cId="3968226123" sldId="2147473985"/>
            <ac:spMk id="52" creationId="{9D78D7C4-F6C3-7D1A-F776-2E8876E04129}"/>
          </ac:spMkLst>
        </pc:spChg>
        <pc:graphicFrameChg chg="mod">
          <ac:chgData name="Androleit, Sofia" userId="a235e272-1198-4b45-ad6e-d78819128082" providerId="ADAL" clId="{451BAC58-0EA8-4F63-8CEA-D814B48951F3}" dt="2024-12-03T11:39:56.517" v="19199"/>
          <ac:graphicFrameMkLst>
            <pc:docMk/>
            <pc:sldMk cId="3968226123" sldId="2147473985"/>
            <ac:graphicFrameMk id="6" creationId="{56028E92-FE70-7F3A-1143-B30D5BE90A20}"/>
          </ac:graphicFrameMkLst>
        </pc:graphicFrameChg>
      </pc:sldChg>
      <pc:sldChg chg="addSp delSp modSp add del mod ord modTransition">
        <pc:chgData name="Androleit, Sofia" userId="a235e272-1198-4b45-ad6e-d78819128082" providerId="ADAL" clId="{451BAC58-0EA8-4F63-8CEA-D814B48951F3}" dt="2024-12-03T11:39:56.078" v="19116" actId="2696"/>
        <pc:sldMkLst>
          <pc:docMk/>
          <pc:sldMk cId="2124587522" sldId="2147473986"/>
        </pc:sldMkLst>
        <pc:spChg chg="mod ord">
          <ac:chgData name="Androleit, Sofia" userId="a235e272-1198-4b45-ad6e-d78819128082" providerId="ADAL" clId="{451BAC58-0EA8-4F63-8CEA-D814B48951F3}" dt="2024-12-03T11:39:48.475" v="19053"/>
          <ac:spMkLst>
            <pc:docMk/>
            <pc:sldMk cId="2124587522" sldId="2147473986"/>
            <ac:spMk id="2" creationId="{419A0FBB-9F69-06E6-7FB9-876FE6695F32}"/>
          </ac:spMkLst>
        </pc:spChg>
        <pc:spChg chg="mod ord">
          <ac:chgData name="Androleit, Sofia" userId="a235e272-1198-4b45-ad6e-d78819128082" providerId="ADAL" clId="{451BAC58-0EA8-4F63-8CEA-D814B48951F3}" dt="2024-12-03T11:39:48.475" v="19055"/>
          <ac:spMkLst>
            <pc:docMk/>
            <pc:sldMk cId="2124587522" sldId="2147473986"/>
            <ac:spMk id="3" creationId="{DE5862B4-95A9-EBF7-A0A0-D186060D49A4}"/>
          </ac:spMkLst>
        </pc:spChg>
        <pc:spChg chg="add del mod modVis">
          <ac:chgData name="Androleit, Sofia" userId="a235e272-1198-4b45-ad6e-d78819128082" providerId="ADAL" clId="{451BAC58-0EA8-4F63-8CEA-D814B48951F3}" dt="2024-12-03T10:08:20.549" v="5252"/>
          <ac:spMkLst>
            <pc:docMk/>
            <pc:sldMk cId="2124587522" sldId="2147473986"/>
            <ac:spMk id="4" creationId="{9E994873-4A2D-99B6-8EE2-6F27E5F5D749}"/>
          </ac:spMkLst>
        </pc:spChg>
        <pc:spChg chg="add del mod ord">
          <ac:chgData name="Androleit, Sofia" userId="a235e272-1198-4b45-ad6e-d78819128082" providerId="ADAL" clId="{451BAC58-0EA8-4F63-8CEA-D814B48951F3}" dt="2024-12-03T10:08:23.217" v="5360"/>
          <ac:spMkLst>
            <pc:docMk/>
            <pc:sldMk cId="2124587522" sldId="2147473986"/>
            <ac:spMk id="5" creationId="{2DEAFAEC-C3DD-CFF4-2D78-59F0E7325196}"/>
          </ac:spMkLst>
        </pc:spChg>
        <pc:spChg chg="add del mod modVis">
          <ac:chgData name="Androleit, Sofia" userId="a235e272-1198-4b45-ad6e-d78819128082" providerId="ADAL" clId="{451BAC58-0EA8-4F63-8CEA-D814B48951F3}" dt="2024-12-03T10:08:23.485" v="5737"/>
          <ac:spMkLst>
            <pc:docMk/>
            <pc:sldMk cId="2124587522" sldId="2147473986"/>
            <ac:spMk id="7" creationId="{B0AE9A3E-EC75-61D5-070A-6EA5CFB2C04F}"/>
          </ac:spMkLst>
        </pc:spChg>
        <pc:spChg chg="add mod ord">
          <ac:chgData name="Androleit, Sofia" userId="a235e272-1198-4b45-ad6e-d78819128082" providerId="ADAL" clId="{451BAC58-0EA8-4F63-8CEA-D814B48951F3}" dt="2024-12-03T11:39:48.475" v="19061"/>
          <ac:spMkLst>
            <pc:docMk/>
            <pc:sldMk cId="2124587522" sldId="2147473986"/>
            <ac:spMk id="8" creationId="{95A9097E-AD4D-A7ED-C96C-B28D7D7626B7}"/>
          </ac:spMkLst>
        </pc:spChg>
        <pc:spChg chg="mod ord">
          <ac:chgData name="Androleit, Sofia" userId="a235e272-1198-4b45-ad6e-d78819128082" providerId="ADAL" clId="{451BAC58-0EA8-4F63-8CEA-D814B48951F3}" dt="2024-12-03T11:39:48.475" v="19057"/>
          <ac:spMkLst>
            <pc:docMk/>
            <pc:sldMk cId="2124587522" sldId="2147473986"/>
            <ac:spMk id="9" creationId="{59EF239F-A39A-0F26-1692-3D4E7A6386E2}"/>
          </ac:spMkLst>
        </pc:spChg>
        <pc:spChg chg="add del mod modVis">
          <ac:chgData name="Androleit, Sofia" userId="a235e272-1198-4b45-ad6e-d78819128082" providerId="ADAL" clId="{451BAC58-0EA8-4F63-8CEA-D814B48951F3}" dt="2024-12-03T10:08:42.514" v="5890"/>
          <ac:spMkLst>
            <pc:docMk/>
            <pc:sldMk cId="2124587522" sldId="2147473986"/>
            <ac:spMk id="10" creationId="{C1655739-6B32-20D8-9076-4BFE880544E2}"/>
          </ac:spMkLst>
        </pc:spChg>
        <pc:spChg chg="add del mod modVis">
          <ac:chgData name="Androleit, Sofia" userId="a235e272-1198-4b45-ad6e-d78819128082" providerId="ADAL" clId="{451BAC58-0EA8-4F63-8CEA-D814B48951F3}" dt="2024-12-03T10:08:43.859" v="6036"/>
          <ac:spMkLst>
            <pc:docMk/>
            <pc:sldMk cId="2124587522" sldId="2147473986"/>
            <ac:spMk id="11" creationId="{1C5B1BC2-6ABC-3C6A-59D5-3C6ABB3293E0}"/>
          </ac:spMkLst>
        </pc:spChg>
        <pc:spChg chg="add del mod modVis">
          <ac:chgData name="Androleit, Sofia" userId="a235e272-1198-4b45-ad6e-d78819128082" providerId="ADAL" clId="{451BAC58-0EA8-4F63-8CEA-D814B48951F3}" dt="2024-12-03T10:08:48.931" v="6193"/>
          <ac:spMkLst>
            <pc:docMk/>
            <pc:sldMk cId="2124587522" sldId="2147473986"/>
            <ac:spMk id="12" creationId="{A3F0E826-B7E6-3D2A-DE09-A2A8B783E223}"/>
          </ac:spMkLst>
        </pc:spChg>
        <pc:spChg chg="add del mod modVis">
          <ac:chgData name="Androleit, Sofia" userId="a235e272-1198-4b45-ad6e-d78819128082" providerId="ADAL" clId="{451BAC58-0EA8-4F63-8CEA-D814B48951F3}" dt="2024-12-03T10:08:51.366" v="6347"/>
          <ac:spMkLst>
            <pc:docMk/>
            <pc:sldMk cId="2124587522" sldId="2147473986"/>
            <ac:spMk id="13" creationId="{C12E9D3D-A35F-8B91-3025-D1242E3E93BC}"/>
          </ac:spMkLst>
        </pc:spChg>
        <pc:spChg chg="del mod ord">
          <ac:chgData name="Androleit, Sofia" userId="a235e272-1198-4b45-ad6e-d78819128082" providerId="ADAL" clId="{451BAC58-0EA8-4F63-8CEA-D814B48951F3}" dt="2024-12-03T10:09:12.538" v="7561"/>
          <ac:spMkLst>
            <pc:docMk/>
            <pc:sldMk cId="2124587522" sldId="2147473986"/>
            <ac:spMk id="14" creationId="{0DEE01F4-699C-920B-2360-EA88ECB3B011}"/>
          </ac:spMkLst>
        </pc:spChg>
        <pc:spChg chg="add del mod ord">
          <ac:chgData name="Androleit, Sofia" userId="a235e272-1198-4b45-ad6e-d78819128082" providerId="ADAL" clId="{451BAC58-0EA8-4F63-8CEA-D814B48951F3}" dt="2024-12-03T11:39:37.752" v="18541"/>
          <ac:spMkLst>
            <pc:docMk/>
            <pc:sldMk cId="2124587522" sldId="2147473986"/>
            <ac:spMk id="15" creationId="{CF785BB5-9BF4-992B-CDC9-8D8709A60781}"/>
          </ac:spMkLst>
        </pc:spChg>
        <pc:spChg chg="add del mod modVis">
          <ac:chgData name="Androleit, Sofia" userId="a235e272-1198-4b45-ad6e-d78819128082" providerId="ADAL" clId="{451BAC58-0EA8-4F63-8CEA-D814B48951F3}" dt="2024-12-03T10:08:55.133" v="6733"/>
          <ac:spMkLst>
            <pc:docMk/>
            <pc:sldMk cId="2124587522" sldId="2147473986"/>
            <ac:spMk id="16" creationId="{88F19CF4-FEDD-1A9E-280D-C45F7F54ACBB}"/>
          </ac:spMkLst>
        </pc:spChg>
        <pc:spChg chg="mod ord">
          <ac:chgData name="Androleit, Sofia" userId="a235e272-1198-4b45-ad6e-d78819128082" providerId="ADAL" clId="{451BAC58-0EA8-4F63-8CEA-D814B48951F3}" dt="2024-12-03T11:39:48.475" v="19059"/>
          <ac:spMkLst>
            <pc:docMk/>
            <pc:sldMk cId="2124587522" sldId="2147473986"/>
            <ac:spMk id="17" creationId="{ACF002E5-8F32-EF78-AC3D-5BA4CF92E6BC}"/>
          </ac:spMkLst>
        </pc:spChg>
        <pc:spChg chg="add del mod modVis">
          <ac:chgData name="Androleit, Sofia" userId="a235e272-1198-4b45-ad6e-d78819128082" providerId="ADAL" clId="{451BAC58-0EA8-4F63-8CEA-D814B48951F3}" dt="2024-12-03T10:09:00.222" v="7070"/>
          <ac:spMkLst>
            <pc:docMk/>
            <pc:sldMk cId="2124587522" sldId="2147473986"/>
            <ac:spMk id="18" creationId="{7DC4C0C0-86EF-5101-F557-1CEBC087EE1C}"/>
          </ac:spMkLst>
        </pc:spChg>
        <pc:spChg chg="add del mod modVis">
          <ac:chgData name="Androleit, Sofia" userId="a235e272-1198-4b45-ad6e-d78819128082" providerId="ADAL" clId="{451BAC58-0EA8-4F63-8CEA-D814B48951F3}" dt="2024-12-03T10:09:07.586" v="7303"/>
          <ac:spMkLst>
            <pc:docMk/>
            <pc:sldMk cId="2124587522" sldId="2147473986"/>
            <ac:spMk id="19" creationId="{189AEA09-3E53-1A47-CA52-7D67618EABC9}"/>
          </ac:spMkLst>
        </pc:spChg>
        <pc:spChg chg="mod ord">
          <ac:chgData name="Androleit, Sofia" userId="a235e272-1198-4b45-ad6e-d78819128082" providerId="ADAL" clId="{451BAC58-0EA8-4F63-8CEA-D814B48951F3}" dt="2024-12-03T11:39:48.491" v="19063"/>
          <ac:spMkLst>
            <pc:docMk/>
            <pc:sldMk cId="2124587522" sldId="2147473986"/>
            <ac:spMk id="20" creationId="{44843074-266F-6D29-169D-5E8FD29CF476}"/>
          </ac:spMkLst>
        </pc:spChg>
        <pc:spChg chg="add del mod modVis">
          <ac:chgData name="Androleit, Sofia" userId="a235e272-1198-4b45-ad6e-d78819128082" providerId="ADAL" clId="{451BAC58-0EA8-4F63-8CEA-D814B48951F3}" dt="2024-12-03T10:09:08.356" v="7499"/>
          <ac:spMkLst>
            <pc:docMk/>
            <pc:sldMk cId="2124587522" sldId="2147473986"/>
            <ac:spMk id="21" creationId="{F45E2112-3B57-CBFF-1B0E-D65AABC57D09}"/>
          </ac:spMkLst>
        </pc:spChg>
        <pc:spChg chg="add del mod ord">
          <ac:chgData name="Androleit, Sofia" userId="a235e272-1198-4b45-ad6e-d78819128082" providerId="ADAL" clId="{451BAC58-0EA8-4F63-8CEA-D814B48951F3}" dt="2024-12-03T10:09:48.372" v="10597" actId="948"/>
          <ac:spMkLst>
            <pc:docMk/>
            <pc:sldMk cId="2124587522" sldId="2147473986"/>
            <ac:spMk id="22" creationId="{5CB2852C-3BB4-05C4-4832-06A7C196858B}"/>
          </ac:spMkLst>
        </pc:spChg>
        <pc:spChg chg="add del mod modVis">
          <ac:chgData name="Androleit, Sofia" userId="a235e272-1198-4b45-ad6e-d78819128082" providerId="ADAL" clId="{451BAC58-0EA8-4F63-8CEA-D814B48951F3}" dt="2024-12-03T10:09:48.372" v="10596" actId="962"/>
          <ac:spMkLst>
            <pc:docMk/>
            <pc:sldMk cId="2124587522" sldId="2147473986"/>
            <ac:spMk id="23" creationId="{568D376C-F8C4-77E1-2FD1-7CB07702D0F2}"/>
          </ac:spMkLst>
        </pc:spChg>
        <pc:spChg chg="add del mod modVis">
          <ac:chgData name="Androleit, Sofia" userId="a235e272-1198-4b45-ad6e-d78819128082" providerId="ADAL" clId="{451BAC58-0EA8-4F63-8CEA-D814B48951F3}" dt="2024-12-03T10:10:19.525" v="11307"/>
          <ac:spMkLst>
            <pc:docMk/>
            <pc:sldMk cId="2124587522" sldId="2147473986"/>
            <ac:spMk id="24" creationId="{6838822E-00DA-6AFB-ED51-F1D2D7A511CD}"/>
          </ac:spMkLst>
        </pc:spChg>
        <pc:spChg chg="add del mod modVis">
          <ac:chgData name="Androleit, Sofia" userId="a235e272-1198-4b45-ad6e-d78819128082" providerId="ADAL" clId="{451BAC58-0EA8-4F63-8CEA-D814B48951F3}" dt="2024-12-03T10:43:35.788" v="15600"/>
          <ac:spMkLst>
            <pc:docMk/>
            <pc:sldMk cId="2124587522" sldId="2147473986"/>
            <ac:spMk id="25" creationId="{7E86EFF4-34B8-DBDE-4C6C-CC5B4268ACD8}"/>
          </ac:spMkLst>
        </pc:spChg>
        <pc:spChg chg="add del mod ord">
          <ac:chgData name="Androleit, Sofia" userId="a235e272-1198-4b45-ad6e-d78819128082" providerId="ADAL" clId="{451BAC58-0EA8-4F63-8CEA-D814B48951F3}" dt="2024-12-03T11:39:48.397" v="19017"/>
          <ac:spMkLst>
            <pc:docMk/>
            <pc:sldMk cId="2124587522" sldId="2147473986"/>
            <ac:spMk id="26" creationId="{C3BB7D2E-AC63-9CFD-FE4F-4DFEB93E24BC}"/>
          </ac:spMkLst>
        </pc:spChg>
        <pc:spChg chg="add del mod modVis">
          <ac:chgData name="Androleit, Sofia" userId="a235e272-1198-4b45-ad6e-d78819128082" providerId="ADAL" clId="{451BAC58-0EA8-4F63-8CEA-D814B48951F3}" dt="2024-12-03T11:39:44.745" v="18970"/>
          <ac:spMkLst>
            <pc:docMk/>
            <pc:sldMk cId="2124587522" sldId="2147473986"/>
            <ac:spMk id="27" creationId="{EB30980B-271A-7EDE-F44E-14424A128CB7}"/>
          </ac:spMkLst>
        </pc:spChg>
        <pc:graphicFrameChg chg="mod">
          <ac:chgData name="Androleit, Sofia" userId="a235e272-1198-4b45-ad6e-d78819128082" providerId="ADAL" clId="{451BAC58-0EA8-4F63-8CEA-D814B48951F3}" dt="2024-12-03T11:39:48.538" v="19113"/>
          <ac:graphicFrameMkLst>
            <pc:docMk/>
            <pc:sldMk cId="2124587522" sldId="2147473986"/>
            <ac:graphicFrameMk id="6" creationId="{56028E92-FE70-7F3A-1143-B30D5BE90A20}"/>
          </ac:graphicFrameMkLst>
        </pc:graphicFrameChg>
      </pc:sldChg>
      <pc:sldChg chg="del">
        <pc:chgData name="Androleit, Sofia" userId="a235e272-1198-4b45-ad6e-d78819128082" providerId="ADAL" clId="{451BAC58-0EA8-4F63-8CEA-D814B48951F3}" dt="2024-12-03T10:06:48.025" v="688" actId="2696"/>
        <pc:sldMkLst>
          <pc:docMk/>
          <pc:sldMk cId="3053029114" sldId="2147473986"/>
        </pc:sldMkLst>
      </pc:sldChg>
      <pc:sldChg chg="del">
        <pc:chgData name="Androleit, Sofia" userId="a235e272-1198-4b45-ad6e-d78819128082" providerId="ADAL" clId="{451BAC58-0EA8-4F63-8CEA-D814B48951F3}" dt="2024-12-03T10:06:48.025" v="688" actId="2696"/>
        <pc:sldMkLst>
          <pc:docMk/>
          <pc:sldMk cId="33987733" sldId="2147473987"/>
        </pc:sldMkLst>
      </pc:sldChg>
      <pc:sldChg chg="addSp delSp modSp add del mod ord modTransition">
        <pc:chgData name="Androleit, Sofia" userId="a235e272-1198-4b45-ad6e-d78819128082" providerId="ADAL" clId="{451BAC58-0EA8-4F63-8CEA-D814B48951F3}" dt="2024-12-03T11:39:37.155" v="18501" actId="2696"/>
        <pc:sldMkLst>
          <pc:docMk/>
          <pc:sldMk cId="2896252993" sldId="2147473987"/>
        </pc:sldMkLst>
        <pc:spChg chg="mod ord">
          <ac:chgData name="Androleit, Sofia" userId="a235e272-1198-4b45-ad6e-d78819128082" providerId="ADAL" clId="{451BAC58-0EA8-4F63-8CEA-D814B48951F3}" dt="2024-12-03T11:30:41.204" v="17781" actId="948"/>
          <ac:spMkLst>
            <pc:docMk/>
            <pc:sldMk cId="2896252993" sldId="2147473987"/>
            <ac:spMk id="2" creationId="{419A0FBB-9F69-06E6-7FB9-876FE6695F32}"/>
          </ac:spMkLst>
        </pc:spChg>
        <pc:spChg chg="mod ord">
          <ac:chgData name="Androleit, Sofia" userId="a235e272-1198-4b45-ad6e-d78819128082" providerId="ADAL" clId="{451BAC58-0EA8-4F63-8CEA-D814B48951F3}" dt="2024-12-03T10:43:35.733" v="15486"/>
          <ac:spMkLst>
            <pc:docMk/>
            <pc:sldMk cId="2896252993" sldId="2147473987"/>
            <ac:spMk id="3" creationId="{DE5862B4-95A9-EBF7-A0A0-D186060D49A4}"/>
          </ac:spMkLst>
        </pc:spChg>
        <pc:spChg chg="add del mod modVis">
          <ac:chgData name="Androleit, Sofia" userId="a235e272-1198-4b45-ad6e-d78819128082" providerId="ADAL" clId="{451BAC58-0EA8-4F63-8CEA-D814B48951F3}" dt="2024-12-03T10:08:55.117" v="6717"/>
          <ac:spMkLst>
            <pc:docMk/>
            <pc:sldMk cId="2896252993" sldId="2147473987"/>
            <ac:spMk id="4" creationId="{EFC27A28-E334-16B3-4456-8D9B9F89733F}"/>
          </ac:spMkLst>
        </pc:spChg>
        <pc:spChg chg="add mod ord">
          <ac:chgData name="Androleit, Sofia" userId="a235e272-1198-4b45-ad6e-d78819128082" providerId="ADAL" clId="{451BAC58-0EA8-4F63-8CEA-D814B48951F3}" dt="2024-12-03T11:30:41.434" v="17860" actId="299"/>
          <ac:spMkLst>
            <pc:docMk/>
            <pc:sldMk cId="2896252993" sldId="2147473987"/>
            <ac:spMk id="5" creationId="{6699892B-1338-4306-F17E-8B84900578EA}"/>
          </ac:spMkLst>
        </pc:spChg>
        <pc:spChg chg="add del mod ord">
          <ac:chgData name="Androleit, Sofia" userId="a235e272-1198-4b45-ad6e-d78819128082" providerId="ADAL" clId="{451BAC58-0EA8-4F63-8CEA-D814B48951F3}" dt="2024-12-03T10:08:57.781" v="6800"/>
          <ac:spMkLst>
            <pc:docMk/>
            <pc:sldMk cId="2896252993" sldId="2147473987"/>
            <ac:spMk id="7" creationId="{C07367CE-BF74-5CD7-2AFD-8E02C3A5B565}"/>
          </ac:spMkLst>
        </pc:spChg>
        <pc:spChg chg="add del mod ord">
          <ac:chgData name="Androleit, Sofia" userId="a235e272-1198-4b45-ad6e-d78819128082" providerId="ADAL" clId="{451BAC58-0EA8-4F63-8CEA-D814B48951F3}" dt="2024-12-03T10:09:00.096" v="6976"/>
          <ac:spMkLst>
            <pc:docMk/>
            <pc:sldMk cId="2896252993" sldId="2147473987"/>
            <ac:spMk id="8" creationId="{7F5B365C-9774-4CE6-6563-44331C3C0D38}"/>
          </ac:spMkLst>
        </pc:spChg>
        <pc:spChg chg="mod ord">
          <ac:chgData name="Androleit, Sofia" userId="a235e272-1198-4b45-ad6e-d78819128082" providerId="ADAL" clId="{451BAC58-0EA8-4F63-8CEA-D814B48951F3}" dt="2024-12-03T11:30:41.406" v="17848" actId="299"/>
          <ac:spMkLst>
            <pc:docMk/>
            <pc:sldMk cId="2896252993" sldId="2147473987"/>
            <ac:spMk id="9" creationId="{59EF239F-A39A-0F26-1692-3D4E7A6386E2}"/>
          </ac:spMkLst>
        </pc:spChg>
        <pc:spChg chg="add del mod ord">
          <ac:chgData name="Androleit, Sofia" userId="a235e272-1198-4b45-ad6e-d78819128082" providerId="ADAL" clId="{451BAC58-0EA8-4F63-8CEA-D814B48951F3}" dt="2024-12-03T10:09:07.460" v="7209"/>
          <ac:spMkLst>
            <pc:docMk/>
            <pc:sldMk cId="2896252993" sldId="2147473987"/>
            <ac:spMk id="10" creationId="{A4736551-7B4F-34CF-9884-3F6A6DD5BE0A}"/>
          </ac:spMkLst>
        </pc:spChg>
        <pc:spChg chg="add del mod modVis">
          <ac:chgData name="Androleit, Sofia" userId="a235e272-1198-4b45-ad6e-d78819128082" providerId="ADAL" clId="{451BAC58-0EA8-4F63-8CEA-D814B48951F3}" dt="2024-12-03T10:09:00.206" v="7054"/>
          <ac:spMkLst>
            <pc:docMk/>
            <pc:sldMk cId="2896252993" sldId="2147473987"/>
            <ac:spMk id="11" creationId="{4EDF1FED-F0AF-CBAA-ACC3-1653272BCF28}"/>
          </ac:spMkLst>
        </pc:spChg>
        <pc:spChg chg="add del mod ord">
          <ac:chgData name="Androleit, Sofia" userId="a235e272-1198-4b45-ad6e-d78819128082" providerId="ADAL" clId="{451BAC58-0EA8-4F63-8CEA-D814B48951F3}" dt="2024-12-03T10:09:08.262" v="7405"/>
          <ac:spMkLst>
            <pc:docMk/>
            <pc:sldMk cId="2896252993" sldId="2147473987"/>
            <ac:spMk id="12" creationId="{B7B0F01C-62DF-4DCE-2680-B50617518AE8}"/>
          </ac:spMkLst>
        </pc:spChg>
        <pc:spChg chg="add del mod modVis">
          <ac:chgData name="Androleit, Sofia" userId="a235e272-1198-4b45-ad6e-d78819128082" providerId="ADAL" clId="{451BAC58-0EA8-4F63-8CEA-D814B48951F3}" dt="2024-12-03T10:09:07.570" v="7287"/>
          <ac:spMkLst>
            <pc:docMk/>
            <pc:sldMk cId="2896252993" sldId="2147473987"/>
            <ac:spMk id="13" creationId="{36889452-F488-7B2A-5772-99E1C46C54E5}"/>
          </ac:spMkLst>
        </pc:spChg>
        <pc:spChg chg="del mod ord">
          <ac:chgData name="Androleit, Sofia" userId="a235e272-1198-4b45-ad6e-d78819128082" providerId="ADAL" clId="{451BAC58-0EA8-4F63-8CEA-D814B48951F3}" dt="2024-12-03T10:09:12.538" v="7567"/>
          <ac:spMkLst>
            <pc:docMk/>
            <pc:sldMk cId="2896252993" sldId="2147473987"/>
            <ac:spMk id="14" creationId="{0DEE01F4-699C-920B-2360-EA88ECB3B011}"/>
          </ac:spMkLst>
        </pc:spChg>
        <pc:spChg chg="add mod ord">
          <ac:chgData name="Androleit, Sofia" userId="a235e272-1198-4b45-ad6e-d78819128082" providerId="ADAL" clId="{451BAC58-0EA8-4F63-8CEA-D814B48951F3}" dt="2024-12-03T11:30:41.446" v="17866" actId="299"/>
          <ac:spMkLst>
            <pc:docMk/>
            <pc:sldMk cId="2896252993" sldId="2147473987"/>
            <ac:spMk id="15" creationId="{6764BAE9-1585-55B6-95C8-D60087A7F867}"/>
          </ac:spMkLst>
        </pc:spChg>
        <pc:spChg chg="add del mod modVis">
          <ac:chgData name="Androleit, Sofia" userId="a235e272-1198-4b45-ad6e-d78819128082" providerId="ADAL" clId="{451BAC58-0EA8-4F63-8CEA-D814B48951F3}" dt="2024-12-03T10:09:08.340" v="7483"/>
          <ac:spMkLst>
            <pc:docMk/>
            <pc:sldMk cId="2896252993" sldId="2147473987"/>
            <ac:spMk id="16" creationId="{D7456339-162D-268C-404E-C1D7B462D8C7}"/>
          </ac:spMkLst>
        </pc:spChg>
        <pc:spChg chg="mod ord">
          <ac:chgData name="Androleit, Sofia" userId="a235e272-1198-4b45-ad6e-d78819128082" providerId="ADAL" clId="{451BAC58-0EA8-4F63-8CEA-D814B48951F3}" dt="2024-12-03T11:30:41.418" v="17854" actId="299"/>
          <ac:spMkLst>
            <pc:docMk/>
            <pc:sldMk cId="2896252993" sldId="2147473987"/>
            <ac:spMk id="17" creationId="{ACF002E5-8F32-EF78-AC3D-5BA4CF92E6BC}"/>
          </ac:spMkLst>
        </pc:spChg>
        <pc:spChg chg="add mod ord">
          <ac:chgData name="Androleit, Sofia" userId="a235e272-1198-4b45-ad6e-d78819128082" providerId="ADAL" clId="{451BAC58-0EA8-4F63-8CEA-D814B48951F3}" dt="2024-12-03T11:30:41.456" v="17872" actId="299"/>
          <ac:spMkLst>
            <pc:docMk/>
            <pc:sldMk cId="2896252993" sldId="2147473987"/>
            <ac:spMk id="18" creationId="{71EB9125-FD76-0C6D-40ED-9730CC2261E6}"/>
          </ac:spMkLst>
        </pc:spChg>
        <pc:spChg chg="add del mod ord">
          <ac:chgData name="Androleit, Sofia" userId="a235e272-1198-4b45-ad6e-d78819128082" providerId="ADAL" clId="{451BAC58-0EA8-4F63-8CEA-D814B48951F3}" dt="2024-12-03T10:09:48.341" v="10552" actId="948"/>
          <ac:spMkLst>
            <pc:docMk/>
            <pc:sldMk cId="2896252993" sldId="2147473987"/>
            <ac:spMk id="19" creationId="{F6F046DA-A89A-AC8C-2535-727C5C822074}"/>
          </ac:spMkLst>
        </pc:spChg>
        <pc:spChg chg="del mod ord">
          <ac:chgData name="Androleit, Sofia" userId="a235e272-1198-4b45-ad6e-d78819128082" providerId="ADAL" clId="{451BAC58-0EA8-4F63-8CEA-D814B48951F3}" dt="2024-12-03T10:09:20.524" v="7878"/>
          <ac:spMkLst>
            <pc:docMk/>
            <pc:sldMk cId="2896252993" sldId="2147473987"/>
            <ac:spMk id="20" creationId="{44843074-266F-6D29-169D-5E8FD29CF476}"/>
          </ac:spMkLst>
        </pc:spChg>
        <pc:spChg chg="add del mod modVis">
          <ac:chgData name="Androleit, Sofia" userId="a235e272-1198-4b45-ad6e-d78819128082" providerId="ADAL" clId="{451BAC58-0EA8-4F63-8CEA-D814B48951F3}" dt="2024-12-03T10:09:48.341" v="10551" actId="962"/>
          <ac:spMkLst>
            <pc:docMk/>
            <pc:sldMk cId="2896252993" sldId="2147473987"/>
            <ac:spMk id="21" creationId="{222F9671-30EE-8297-1B09-D58F125E6E57}"/>
          </ac:spMkLst>
        </pc:spChg>
        <pc:spChg chg="add del mod modVis">
          <ac:chgData name="Androleit, Sofia" userId="a235e272-1198-4b45-ad6e-d78819128082" providerId="ADAL" clId="{451BAC58-0EA8-4F63-8CEA-D814B48951F3}" dt="2024-12-03T10:10:19.494" v="11283"/>
          <ac:spMkLst>
            <pc:docMk/>
            <pc:sldMk cId="2896252993" sldId="2147473987"/>
            <ac:spMk id="22" creationId="{AE367E78-BC12-3725-DED3-716AB0DAD0A1}"/>
          </ac:spMkLst>
        </pc:spChg>
        <pc:spChg chg="add del mod modVis">
          <ac:chgData name="Androleit, Sofia" userId="a235e272-1198-4b45-ad6e-d78819128082" providerId="ADAL" clId="{451BAC58-0EA8-4F63-8CEA-D814B48951F3}" dt="2024-12-03T10:43:35.767" v="15576"/>
          <ac:spMkLst>
            <pc:docMk/>
            <pc:sldMk cId="2896252993" sldId="2147473987"/>
            <ac:spMk id="23" creationId="{98F586F8-32DE-61C6-029D-7D6CBC808B7F}"/>
          </ac:spMkLst>
        </pc:spChg>
        <pc:graphicFrameChg chg="mod">
          <ac:chgData name="Androleit, Sofia" userId="a235e272-1198-4b45-ad6e-d78819128082" providerId="ADAL" clId="{451BAC58-0EA8-4F63-8CEA-D814B48951F3}" dt="2024-12-03T11:30:41.809" v="18048"/>
          <ac:graphicFrameMkLst>
            <pc:docMk/>
            <pc:sldMk cId="2896252993" sldId="2147473987"/>
            <ac:graphicFrameMk id="6" creationId="{56028E92-FE70-7F3A-1143-B30D5BE90A20}"/>
          </ac:graphicFrameMkLst>
        </pc:graphicFrameChg>
      </pc:sldChg>
      <pc:sldChg chg="addSp delSp modSp new mod">
        <pc:chgData name="Androleit, Sofia" userId="a235e272-1198-4b45-ad6e-d78819128082" providerId="ADAL" clId="{451BAC58-0EA8-4F63-8CEA-D814B48951F3}" dt="2024-12-03T11:57:37.887" v="19877" actId="20577"/>
        <pc:sldMkLst>
          <pc:docMk/>
          <pc:sldMk cId="2179825808" sldId="2147473988"/>
        </pc:sldMkLst>
        <pc:spChg chg="mod">
          <ac:chgData name="Androleit, Sofia" userId="a235e272-1198-4b45-ad6e-d78819128082" providerId="ADAL" clId="{451BAC58-0EA8-4F63-8CEA-D814B48951F3}" dt="2024-12-03T10:12:52.918" v="13113" actId="948"/>
          <ac:spMkLst>
            <pc:docMk/>
            <pc:sldMk cId="2179825808" sldId="2147473988"/>
            <ac:spMk id="2" creationId="{AB40A9FB-01A3-36E6-1A70-7F0F81B38755}"/>
          </ac:spMkLst>
        </pc:spChg>
        <pc:spChg chg="mod">
          <ac:chgData name="Androleit, Sofia" userId="a235e272-1198-4b45-ad6e-d78819128082" providerId="ADAL" clId="{451BAC58-0EA8-4F63-8CEA-D814B48951F3}" dt="2024-12-03T11:57:37.887" v="19877" actId="20577"/>
          <ac:spMkLst>
            <pc:docMk/>
            <pc:sldMk cId="2179825808" sldId="2147473988"/>
            <ac:spMk id="3" creationId="{48EE747A-AC62-2070-55F7-96A504A2625B}"/>
          </ac:spMkLst>
        </pc:spChg>
        <pc:spChg chg="add del mod modVis">
          <ac:chgData name="Androleit, Sofia" userId="a235e272-1198-4b45-ad6e-d78819128082" providerId="ADAL" clId="{451BAC58-0EA8-4F63-8CEA-D814B48951F3}" dt="2024-12-03T10:12:46.276" v="13039"/>
          <ac:spMkLst>
            <pc:docMk/>
            <pc:sldMk cId="2179825808" sldId="2147473988"/>
            <ac:spMk id="5" creationId="{78333E54-3E36-F655-0133-B60C6FD773B5}"/>
          </ac:spMkLst>
        </pc:spChg>
        <pc:spChg chg="add del mod modVis">
          <ac:chgData name="Androleit, Sofia" userId="a235e272-1198-4b45-ad6e-d78819128082" providerId="ADAL" clId="{451BAC58-0EA8-4F63-8CEA-D814B48951F3}" dt="2024-12-03T10:12:52.209" v="13108"/>
          <ac:spMkLst>
            <pc:docMk/>
            <pc:sldMk cId="2179825808" sldId="2147473988"/>
            <ac:spMk id="7" creationId="{2B091A50-EB0E-4522-A8AA-2A8EC23C90ED}"/>
          </ac:spMkLst>
        </pc:spChg>
        <pc:spChg chg="add del mod modVis">
          <ac:chgData name="Androleit, Sofia" userId="a235e272-1198-4b45-ad6e-d78819128082" providerId="ADAL" clId="{451BAC58-0EA8-4F63-8CEA-D814B48951F3}" dt="2024-12-03T10:12:52.932" v="13134"/>
          <ac:spMkLst>
            <pc:docMk/>
            <pc:sldMk cId="2179825808" sldId="2147473988"/>
            <ac:spMk id="8" creationId="{F21399AD-6B72-2103-9B2B-86CB1EECA46A}"/>
          </ac:spMkLst>
        </pc:spChg>
        <pc:graphicFrameChg chg="add mod ord modVis">
          <ac:chgData name="Androleit, Sofia" userId="a235e272-1198-4b45-ad6e-d78819128082" providerId="ADAL" clId="{451BAC58-0EA8-4F63-8CEA-D814B48951F3}" dt="2024-12-03T10:12:52.932" v="13136"/>
          <ac:graphicFrameMkLst>
            <pc:docMk/>
            <pc:sldMk cId="2179825808" sldId="2147473988"/>
            <ac:graphicFrameMk id="6" creationId="{D693BB8D-239E-63D3-2E85-D9894104987B}"/>
          </ac:graphicFrameMkLst>
        </pc:graphicFrameChg>
      </pc:sldChg>
      <pc:sldChg chg="addSp delSp modSp add del mod ord modTransition">
        <pc:chgData name="Androleit, Sofia" userId="a235e272-1198-4b45-ad6e-d78819128082" providerId="ADAL" clId="{451BAC58-0EA8-4F63-8CEA-D814B48951F3}" dt="2024-12-03T10:09:48.435" v="10688" actId="2890"/>
        <pc:sldMkLst>
          <pc:docMk/>
          <pc:sldMk cId="3742501513" sldId="2147473988"/>
        </pc:sldMkLst>
        <pc:spChg chg="mod ord">
          <ac:chgData name="Androleit, Sofia" userId="a235e272-1198-4b45-ad6e-d78819128082" providerId="ADAL" clId="{451BAC58-0EA8-4F63-8CEA-D814B48951F3}" dt="2024-12-03T10:09:48.325" v="10511" actId="948"/>
          <ac:spMkLst>
            <pc:docMk/>
            <pc:sldMk cId="3742501513" sldId="2147473988"/>
            <ac:spMk id="2" creationId="{419A0FBB-9F69-06E6-7FB9-876FE6695F32}"/>
          </ac:spMkLst>
        </pc:spChg>
        <pc:spChg chg="mod ord">
          <ac:chgData name="Androleit, Sofia" userId="a235e272-1198-4b45-ad6e-d78819128082" providerId="ADAL" clId="{451BAC58-0EA8-4F63-8CEA-D814B48951F3}" dt="2024-12-03T10:09:48.294" v="10368"/>
          <ac:spMkLst>
            <pc:docMk/>
            <pc:sldMk cId="3742501513" sldId="2147473988"/>
            <ac:spMk id="3" creationId="{DE5862B4-95A9-EBF7-A0A0-D186060D49A4}"/>
          </ac:spMkLst>
        </pc:spChg>
        <pc:spChg chg="add del mod modVis">
          <ac:chgData name="Androleit, Sofia" userId="a235e272-1198-4b45-ad6e-d78819128082" providerId="ADAL" clId="{451BAC58-0EA8-4F63-8CEA-D814B48951F3}" dt="2024-12-03T10:09:48.341" v="10540" actId="962"/>
          <ac:spMkLst>
            <pc:docMk/>
            <pc:sldMk cId="3742501513" sldId="2147473988"/>
            <ac:spMk id="4" creationId="{54998380-A2C6-1A0D-7DC0-E65CD0CDA180}"/>
          </ac:spMkLst>
        </pc:spChg>
        <pc:spChg chg="add del mod ord">
          <ac:chgData name="Androleit, Sofia" userId="a235e272-1198-4b45-ad6e-d78819128082" providerId="ADAL" clId="{451BAC58-0EA8-4F63-8CEA-D814B48951F3}" dt="2024-12-03T10:09:48.325" v="10528" actId="948"/>
          <ac:spMkLst>
            <pc:docMk/>
            <pc:sldMk cId="3742501513" sldId="2147473988"/>
            <ac:spMk id="5" creationId="{F293B7E9-1A96-3B61-5E84-2647EA1F83D5}"/>
          </ac:spMkLst>
        </pc:spChg>
        <pc:spChg chg="add mod ord">
          <ac:chgData name="Androleit, Sofia" userId="a235e272-1198-4b45-ad6e-d78819128082" providerId="ADAL" clId="{451BAC58-0EA8-4F63-8CEA-D814B48951F3}" dt="2024-12-03T10:09:47.085" v="10226" actId="948"/>
          <ac:spMkLst>
            <pc:docMk/>
            <pc:sldMk cId="3742501513" sldId="2147473988"/>
            <ac:spMk id="7" creationId="{11FB4613-080B-C7BF-6AAB-53CFFFCC7867}"/>
          </ac:spMkLst>
        </pc:spChg>
        <pc:spChg chg="add del mod modVis">
          <ac:chgData name="Androleit, Sofia" userId="a235e272-1198-4b45-ad6e-d78819128082" providerId="ADAL" clId="{451BAC58-0EA8-4F63-8CEA-D814B48951F3}" dt="2024-12-03T10:09:47.085" v="10225" actId="962"/>
          <ac:spMkLst>
            <pc:docMk/>
            <pc:sldMk cId="3742501513" sldId="2147473988"/>
            <ac:spMk id="8" creationId="{FE0E3BAB-2B88-C3F3-FC6C-4C3FE4BE3E58}"/>
          </ac:spMkLst>
        </pc:spChg>
        <pc:spChg chg="add mod ord">
          <ac:chgData name="Androleit, Sofia" userId="a235e272-1198-4b45-ad6e-d78819128082" providerId="ADAL" clId="{451BAC58-0EA8-4F63-8CEA-D814B48951F3}" dt="2024-12-03T10:09:47.085" v="10215" actId="948"/>
          <ac:spMkLst>
            <pc:docMk/>
            <pc:sldMk cId="3742501513" sldId="2147473988"/>
            <ac:spMk id="9" creationId="{A23B87F5-AA71-CADB-63D0-9C09591F595F}"/>
          </ac:spMkLst>
        </pc:spChg>
        <pc:spChg chg="add del mod ord">
          <ac:chgData name="Androleit, Sofia" userId="a235e272-1198-4b45-ad6e-d78819128082" providerId="ADAL" clId="{451BAC58-0EA8-4F63-8CEA-D814B48951F3}" dt="2024-12-03T10:09:47.085" v="10213" actId="948"/>
          <ac:spMkLst>
            <pc:docMk/>
            <pc:sldMk cId="3742501513" sldId="2147473988"/>
            <ac:spMk id="10" creationId="{22BB9B42-D106-63FC-655A-13B08B223CF9}"/>
          </ac:spMkLst>
        </pc:spChg>
        <pc:spChg chg="add del mod ord">
          <ac:chgData name="Androleit, Sofia" userId="a235e272-1198-4b45-ad6e-d78819128082" providerId="ADAL" clId="{451BAC58-0EA8-4F63-8CEA-D814B48951F3}" dt="2024-12-03T10:09:46.489" v="9876" actId="948"/>
          <ac:spMkLst>
            <pc:docMk/>
            <pc:sldMk cId="3742501513" sldId="2147473988"/>
            <ac:spMk id="11" creationId="{32649024-8E37-538D-465F-E73F54950301}"/>
          </ac:spMkLst>
        </pc:spChg>
        <pc:spChg chg="mod ord">
          <ac:chgData name="Androleit, Sofia" userId="a235e272-1198-4b45-ad6e-d78819128082" providerId="ADAL" clId="{451BAC58-0EA8-4F63-8CEA-D814B48951F3}" dt="2024-12-03T10:09:48.341" v="10542" actId="948"/>
          <ac:spMkLst>
            <pc:docMk/>
            <pc:sldMk cId="3742501513" sldId="2147473988"/>
            <ac:spMk id="12" creationId="{A584EB01-E31A-CBC9-F41D-F02BABCBFB68}"/>
          </ac:spMkLst>
        </pc:spChg>
        <pc:spChg chg="add del mod modVis">
          <ac:chgData name="Androleit, Sofia" userId="a235e272-1198-4b45-ad6e-d78819128082" providerId="ADAL" clId="{451BAC58-0EA8-4F63-8CEA-D814B48951F3}" dt="2024-12-03T10:09:46.474" v="9873" actId="962"/>
          <ac:spMkLst>
            <pc:docMk/>
            <pc:sldMk cId="3742501513" sldId="2147473988"/>
            <ac:spMk id="13" creationId="{0BEBA059-DE92-6960-2F54-6A2EE2F3B3F0}"/>
          </ac:spMkLst>
        </pc:spChg>
        <pc:spChg chg="add del">
          <ac:chgData name="Androleit, Sofia" userId="a235e272-1198-4b45-ad6e-d78819128082" providerId="ADAL" clId="{451BAC58-0EA8-4F63-8CEA-D814B48951F3}" dt="2024-12-03T10:09:48.325" v="10521" actId="478"/>
          <ac:spMkLst>
            <pc:docMk/>
            <pc:sldMk cId="3742501513" sldId="2147473988"/>
            <ac:spMk id="14" creationId="{0DEE01F4-699C-920B-2360-EA88ECB3B011}"/>
          </ac:spMkLst>
        </pc:spChg>
        <pc:spChg chg="add del">
          <ac:chgData name="Androleit, Sofia" userId="a235e272-1198-4b45-ad6e-d78819128082" providerId="ADAL" clId="{451BAC58-0EA8-4F63-8CEA-D814B48951F3}" dt="2024-12-03T10:09:48.325" v="10522" actId="478"/>
          <ac:spMkLst>
            <pc:docMk/>
            <pc:sldMk cId="3742501513" sldId="2147473988"/>
            <ac:spMk id="15" creationId="{680845F9-4182-54D5-1FF3-2C149595E45C}"/>
          </ac:spMkLst>
        </pc:spChg>
        <pc:spChg chg="add mod ord">
          <ac:chgData name="Androleit, Sofia" userId="a235e272-1198-4b45-ad6e-d78819128082" providerId="ADAL" clId="{451BAC58-0EA8-4F63-8CEA-D814B48951F3}" dt="2024-12-03T10:09:45.642" v="9695" actId="948"/>
          <ac:spMkLst>
            <pc:docMk/>
            <pc:sldMk cId="3742501513" sldId="2147473988"/>
            <ac:spMk id="16" creationId="{200761A4-1316-91AE-AEE9-F38D0D2FBB6F}"/>
          </ac:spMkLst>
        </pc:spChg>
        <pc:spChg chg="add del mod modVis">
          <ac:chgData name="Androleit, Sofia" userId="a235e272-1198-4b45-ad6e-d78819128082" providerId="ADAL" clId="{451BAC58-0EA8-4F63-8CEA-D814B48951F3}" dt="2024-12-03T10:09:45.642" v="9692" actId="962"/>
          <ac:spMkLst>
            <pc:docMk/>
            <pc:sldMk cId="3742501513" sldId="2147473988"/>
            <ac:spMk id="17" creationId="{A3D87C9D-B29B-73F8-1284-BE95C83CE0E5}"/>
          </ac:spMkLst>
        </pc:spChg>
        <pc:spChg chg="mod ord">
          <ac:chgData name="Androleit, Sofia" userId="a235e272-1198-4b45-ad6e-d78819128082" providerId="ADAL" clId="{451BAC58-0EA8-4F63-8CEA-D814B48951F3}" dt="2024-12-03T10:09:48.341" v="10541" actId="948"/>
          <ac:spMkLst>
            <pc:docMk/>
            <pc:sldMk cId="3742501513" sldId="2147473988"/>
            <ac:spMk id="20" creationId="{A866BDB2-B76B-7A71-49B7-310B9138638B}"/>
          </ac:spMkLst>
        </pc:spChg>
        <pc:spChg chg="mod ord">
          <ac:chgData name="Androleit, Sofia" userId="a235e272-1198-4b45-ad6e-d78819128082" providerId="ADAL" clId="{451BAC58-0EA8-4F63-8CEA-D814B48951F3}" dt="2024-12-03T10:09:48.341" v="10531" actId="948"/>
          <ac:spMkLst>
            <pc:docMk/>
            <pc:sldMk cId="3742501513" sldId="2147473988"/>
            <ac:spMk id="24" creationId="{1F09964D-5AAC-3CE7-A37B-DEB03F575593}"/>
          </ac:spMkLst>
        </pc:spChg>
        <pc:graphicFrameChg chg="mod">
          <ac:chgData name="Androleit, Sofia" userId="a235e272-1198-4b45-ad6e-d78819128082" providerId="ADAL" clId="{451BAC58-0EA8-4F63-8CEA-D814B48951F3}" dt="2024-12-03T10:09:48.278" v="10346" actId="1076"/>
          <ac:graphicFrameMkLst>
            <pc:docMk/>
            <pc:sldMk cId="3742501513" sldId="2147473988"/>
            <ac:graphicFrameMk id="6" creationId="{56028E92-FE70-7F3A-1143-B30D5BE90A20}"/>
          </ac:graphicFrameMkLst>
        </pc:graphicFrameChg>
      </pc:sldChg>
      <pc:sldChg chg="del">
        <pc:chgData name="Androleit, Sofia" userId="a235e272-1198-4b45-ad6e-d78819128082" providerId="ADAL" clId="{451BAC58-0EA8-4F63-8CEA-D814B48951F3}" dt="2024-12-03T10:06:38.745" v="618" actId="2696"/>
        <pc:sldMkLst>
          <pc:docMk/>
          <pc:sldMk cId="4153540754" sldId="2147473988"/>
        </pc:sldMkLst>
      </pc:sldChg>
      <pc:sldChg chg="addSp delSp modSp new del mod ord">
        <pc:chgData name="Androleit, Sofia" userId="a235e272-1198-4b45-ad6e-d78819128082" providerId="ADAL" clId="{451BAC58-0EA8-4F63-8CEA-D814B48951F3}" dt="2024-12-03T11:51:27.753" v="19863" actId="2696"/>
        <pc:sldMkLst>
          <pc:docMk/>
          <pc:sldMk cId="2591139927" sldId="2147473989"/>
        </pc:sldMkLst>
        <pc:spChg chg="mod">
          <ac:chgData name="Androleit, Sofia" userId="a235e272-1198-4b45-ad6e-d78819128082" providerId="ADAL" clId="{451BAC58-0EA8-4F63-8CEA-D814B48951F3}" dt="2024-12-03T10:22:38.599" v="13363" actId="948"/>
          <ac:spMkLst>
            <pc:docMk/>
            <pc:sldMk cId="2591139927" sldId="2147473989"/>
            <ac:spMk id="2" creationId="{68EB65D9-E31C-AC68-A3F6-6900284A5F75}"/>
          </ac:spMkLst>
        </pc:spChg>
        <pc:spChg chg="add del mod modVis">
          <ac:chgData name="Androleit, Sofia" userId="a235e272-1198-4b45-ad6e-d78819128082" providerId="ADAL" clId="{451BAC58-0EA8-4F63-8CEA-D814B48951F3}" dt="2024-12-03T10:22:35.517" v="13335"/>
          <ac:spMkLst>
            <pc:docMk/>
            <pc:sldMk cId="2591139927" sldId="2147473989"/>
            <ac:spMk id="5" creationId="{80A4FF3E-04D1-0B14-10C5-449442589334}"/>
          </ac:spMkLst>
        </pc:spChg>
        <pc:spChg chg="add del mod modVis">
          <ac:chgData name="Androleit, Sofia" userId="a235e272-1198-4b45-ad6e-d78819128082" providerId="ADAL" clId="{451BAC58-0EA8-4F63-8CEA-D814B48951F3}" dt="2024-12-03T10:22:38.614" v="13384"/>
          <ac:spMkLst>
            <pc:docMk/>
            <pc:sldMk cId="2591139927" sldId="2147473989"/>
            <ac:spMk id="7" creationId="{3191B8EF-924D-4CDC-9F82-97265E3A9241}"/>
          </ac:spMkLst>
        </pc:spChg>
        <pc:graphicFrameChg chg="add mod ord modVis">
          <ac:chgData name="Androleit, Sofia" userId="a235e272-1198-4b45-ad6e-d78819128082" providerId="ADAL" clId="{451BAC58-0EA8-4F63-8CEA-D814B48951F3}" dt="2024-12-03T10:22:38.614" v="13386"/>
          <ac:graphicFrameMkLst>
            <pc:docMk/>
            <pc:sldMk cId="2591139927" sldId="2147473989"/>
            <ac:graphicFrameMk id="6" creationId="{B90FB235-A225-5374-5F85-5C23A5BFB3A5}"/>
          </ac:graphicFrameMkLst>
        </pc:graphicFrameChg>
      </pc:sldChg>
      <pc:sldChg chg="addSp delSp modSp new mod ord">
        <pc:chgData name="Androleit, Sofia" userId="a235e272-1198-4b45-ad6e-d78819128082" providerId="ADAL" clId="{451BAC58-0EA8-4F63-8CEA-D814B48951F3}" dt="2024-12-03T11:58:04.636" v="19916" actId="5793"/>
        <pc:sldMkLst>
          <pc:docMk/>
          <pc:sldMk cId="552442821" sldId="2147473990"/>
        </pc:sldMkLst>
        <pc:spChg chg="mod">
          <ac:chgData name="Androleit, Sofia" userId="a235e272-1198-4b45-ad6e-d78819128082" providerId="ADAL" clId="{451BAC58-0EA8-4F63-8CEA-D814B48951F3}" dt="2024-12-03T11:42:39.662" v="19525" actId="948"/>
          <ac:spMkLst>
            <pc:docMk/>
            <pc:sldMk cId="552442821" sldId="2147473990"/>
            <ac:spMk id="2" creationId="{8BCA2A20-6AD9-96E3-15E9-6300D623A41A}"/>
          </ac:spMkLst>
        </pc:spChg>
        <pc:spChg chg="del mod">
          <ac:chgData name="Androleit, Sofia" userId="a235e272-1198-4b45-ad6e-d78819128082" providerId="ADAL" clId="{451BAC58-0EA8-4F63-8CEA-D814B48951F3}" dt="2024-12-03T11:43:41.123" v="19555" actId="22"/>
          <ac:spMkLst>
            <pc:docMk/>
            <pc:sldMk cId="552442821" sldId="2147473990"/>
            <ac:spMk id="3" creationId="{921287FC-3224-3810-FF4A-16E0A83ECD08}"/>
          </ac:spMkLst>
        </pc:spChg>
        <pc:spChg chg="add del mod modVis">
          <ac:chgData name="Androleit, Sofia" userId="a235e272-1198-4b45-ad6e-d78819128082" providerId="ADAL" clId="{451BAC58-0EA8-4F63-8CEA-D814B48951F3}" dt="2024-12-03T10:42:33.195" v="13988"/>
          <ac:spMkLst>
            <pc:docMk/>
            <pc:sldMk cId="552442821" sldId="2147473990"/>
            <ac:spMk id="5" creationId="{16867AD1-0183-CEC1-A590-FF62F33BB224}"/>
          </ac:spMkLst>
        </pc:spChg>
        <pc:spChg chg="add del mod modVis">
          <ac:chgData name="Androleit, Sofia" userId="a235e272-1198-4b45-ad6e-d78819128082" providerId="ADAL" clId="{451BAC58-0EA8-4F63-8CEA-D814B48951F3}" dt="2024-12-03T11:42:25.708" v="19322"/>
          <ac:spMkLst>
            <pc:docMk/>
            <pc:sldMk cId="552442821" sldId="2147473990"/>
            <ac:spMk id="7" creationId="{B5269CDE-B7B7-FCEF-5DE8-59D1D045245C}"/>
          </ac:spMkLst>
        </pc:spChg>
        <pc:spChg chg="add del mod modVis">
          <ac:chgData name="Androleit, Sofia" userId="a235e272-1198-4b45-ad6e-d78819128082" providerId="ADAL" clId="{451BAC58-0EA8-4F63-8CEA-D814B48951F3}" dt="2024-12-03T11:42:26.745" v="19349"/>
          <ac:spMkLst>
            <pc:docMk/>
            <pc:sldMk cId="552442821" sldId="2147473990"/>
            <ac:spMk id="8" creationId="{D8674416-96AB-C05A-63C6-A8BC600E8D1D}"/>
          </ac:spMkLst>
        </pc:spChg>
        <pc:spChg chg="add del mod modVis">
          <ac:chgData name="Androleit, Sofia" userId="a235e272-1198-4b45-ad6e-d78819128082" providerId="ADAL" clId="{451BAC58-0EA8-4F63-8CEA-D814B48951F3}" dt="2024-12-03T11:42:28.025" v="19391" actId="962"/>
          <ac:spMkLst>
            <pc:docMk/>
            <pc:sldMk cId="552442821" sldId="2147473990"/>
            <ac:spMk id="9" creationId="{934849EF-3340-56E4-5059-B142630BC531}"/>
          </ac:spMkLst>
        </pc:spChg>
        <pc:spChg chg="add del mod modVis">
          <ac:chgData name="Androleit, Sofia" userId="a235e272-1198-4b45-ad6e-d78819128082" providerId="ADAL" clId="{451BAC58-0EA8-4F63-8CEA-D814B48951F3}" dt="2024-12-03T11:42:30.328" v="19418"/>
          <ac:spMkLst>
            <pc:docMk/>
            <pc:sldMk cId="552442821" sldId="2147473990"/>
            <ac:spMk id="10" creationId="{436867FB-C1ED-EBE5-3455-C67097A94EC3}"/>
          </ac:spMkLst>
        </pc:spChg>
        <pc:spChg chg="add del mod modVis">
          <ac:chgData name="Androleit, Sofia" userId="a235e272-1198-4b45-ad6e-d78819128082" providerId="ADAL" clId="{451BAC58-0EA8-4F63-8CEA-D814B48951F3}" dt="2024-12-03T11:42:31.878" v="19443"/>
          <ac:spMkLst>
            <pc:docMk/>
            <pc:sldMk cId="552442821" sldId="2147473990"/>
            <ac:spMk id="11" creationId="{B0C296D2-606D-0E10-0AA7-08AE60844EB2}"/>
          </ac:spMkLst>
        </pc:spChg>
        <pc:spChg chg="add del mod modVis">
          <ac:chgData name="Androleit, Sofia" userId="a235e272-1198-4b45-ad6e-d78819128082" providerId="ADAL" clId="{451BAC58-0EA8-4F63-8CEA-D814B48951F3}" dt="2024-12-03T11:42:35.134" v="19469"/>
          <ac:spMkLst>
            <pc:docMk/>
            <pc:sldMk cId="552442821" sldId="2147473990"/>
            <ac:spMk id="12" creationId="{CA72DB2E-3DF7-A73A-3D9A-7E71D6E7731A}"/>
          </ac:spMkLst>
        </pc:spChg>
        <pc:spChg chg="add del mod modVis">
          <ac:chgData name="Androleit, Sofia" userId="a235e272-1198-4b45-ad6e-d78819128082" providerId="ADAL" clId="{451BAC58-0EA8-4F63-8CEA-D814B48951F3}" dt="2024-12-03T11:42:36.908" v="19495"/>
          <ac:spMkLst>
            <pc:docMk/>
            <pc:sldMk cId="552442821" sldId="2147473990"/>
            <ac:spMk id="13" creationId="{C5C3A2EB-3C6B-6D3B-BD8F-05E3353A0CEF}"/>
          </ac:spMkLst>
        </pc:spChg>
        <pc:spChg chg="add del mod modVis">
          <ac:chgData name="Androleit, Sofia" userId="a235e272-1198-4b45-ad6e-d78819128082" providerId="ADAL" clId="{451BAC58-0EA8-4F63-8CEA-D814B48951F3}" dt="2024-12-03T11:42:38.084" v="19520"/>
          <ac:spMkLst>
            <pc:docMk/>
            <pc:sldMk cId="552442821" sldId="2147473990"/>
            <ac:spMk id="14" creationId="{BAA772E9-E578-1F3C-F496-BD76BF62BE00}"/>
          </ac:spMkLst>
        </pc:spChg>
        <pc:spChg chg="add del mod modVis">
          <ac:chgData name="Androleit, Sofia" userId="a235e272-1198-4b45-ad6e-d78819128082" providerId="ADAL" clId="{451BAC58-0EA8-4F63-8CEA-D814B48951F3}" dt="2024-12-03T11:42:39.687" v="19552"/>
          <ac:spMkLst>
            <pc:docMk/>
            <pc:sldMk cId="552442821" sldId="2147473990"/>
            <ac:spMk id="15" creationId="{256F3795-4B79-1CFA-F7EE-7E394EB83742}"/>
          </ac:spMkLst>
        </pc:spChg>
        <pc:spChg chg="add del mod">
          <ac:chgData name="Androleit, Sofia" userId="a235e272-1198-4b45-ad6e-d78819128082" providerId="ADAL" clId="{451BAC58-0EA8-4F63-8CEA-D814B48951F3}" dt="2024-12-03T11:44:42.349" v="19715"/>
          <ac:spMkLst>
            <pc:docMk/>
            <pc:sldMk cId="552442821" sldId="2147473990"/>
            <ac:spMk id="18" creationId="{E69E2736-3EF4-9A9C-2888-AEF21F70B1B3}"/>
          </ac:spMkLst>
        </pc:spChg>
        <pc:spChg chg="add mod">
          <ac:chgData name="Androleit, Sofia" userId="a235e272-1198-4b45-ad6e-d78819128082" providerId="ADAL" clId="{451BAC58-0EA8-4F63-8CEA-D814B48951F3}" dt="2024-12-03T11:58:04.636" v="19916" actId="5793"/>
          <ac:spMkLst>
            <pc:docMk/>
            <pc:sldMk cId="552442821" sldId="2147473990"/>
            <ac:spMk id="19" creationId="{371DFFA8-9C33-9DD1-BC20-DC20835B7B1B}"/>
          </ac:spMkLst>
        </pc:spChg>
        <pc:graphicFrameChg chg="add mod ord modVis">
          <ac:chgData name="Androleit, Sofia" userId="a235e272-1198-4b45-ad6e-d78819128082" providerId="ADAL" clId="{451BAC58-0EA8-4F63-8CEA-D814B48951F3}" dt="2024-12-03T11:42:39.693" v="19554"/>
          <ac:graphicFrameMkLst>
            <pc:docMk/>
            <pc:sldMk cId="552442821" sldId="2147473990"/>
            <ac:graphicFrameMk id="6" creationId="{9E9288CC-DAFF-C5D4-FB72-69DA6DE4BB87}"/>
          </ac:graphicFrameMkLst>
        </pc:graphicFrameChg>
        <pc:picChg chg="add mod ord">
          <ac:chgData name="Androleit, Sofia" userId="a235e272-1198-4b45-ad6e-d78819128082" providerId="ADAL" clId="{451BAC58-0EA8-4F63-8CEA-D814B48951F3}" dt="2024-12-03T11:43:44.372" v="19556" actId="1076"/>
          <ac:picMkLst>
            <pc:docMk/>
            <pc:sldMk cId="552442821" sldId="2147473990"/>
            <ac:picMk id="17" creationId="{0575E427-81D8-D608-95ED-51BFA932F6DE}"/>
          </ac:picMkLst>
        </pc:picChg>
      </pc:sldChg>
      <pc:sldChg chg="new del">
        <pc:chgData name="Androleit, Sofia" userId="a235e272-1198-4b45-ad6e-d78819128082" providerId="ADAL" clId="{451BAC58-0EA8-4F63-8CEA-D814B48951F3}" dt="2024-12-03T10:22:56.613" v="13462" actId="47"/>
        <pc:sldMkLst>
          <pc:docMk/>
          <pc:sldMk cId="2672657463" sldId="2147473990"/>
        </pc:sldMkLst>
      </pc:sldChg>
      <pc:sldChg chg="addSp delSp modSp add del mod ord modTransition">
        <pc:chgData name="Androleit, Sofia" userId="a235e272-1198-4b45-ad6e-d78819128082" providerId="ADAL" clId="{451BAC58-0EA8-4F63-8CEA-D814B48951F3}" dt="2024-12-03T10:43:22.484" v="14988" actId="2890"/>
        <pc:sldMkLst>
          <pc:docMk/>
          <pc:sldMk cId="1712308204" sldId="2147473991"/>
        </pc:sldMkLst>
        <pc:spChg chg="mod ord">
          <ac:chgData name="Androleit, Sofia" userId="a235e272-1198-4b45-ad6e-d78819128082" providerId="ADAL" clId="{451BAC58-0EA8-4F63-8CEA-D814B48951F3}" dt="2024-12-03T10:43:22.408" v="14859" actId="948"/>
          <ac:spMkLst>
            <pc:docMk/>
            <pc:sldMk cId="1712308204" sldId="2147473991"/>
            <ac:spMk id="2" creationId="{419A0FBB-9F69-06E6-7FB9-876FE6695F32}"/>
          </ac:spMkLst>
        </pc:spChg>
        <pc:spChg chg="mod ord">
          <ac:chgData name="Androleit, Sofia" userId="a235e272-1198-4b45-ad6e-d78819128082" providerId="ADAL" clId="{451BAC58-0EA8-4F63-8CEA-D814B48951F3}" dt="2024-12-03T10:43:22.345" v="14653"/>
          <ac:spMkLst>
            <pc:docMk/>
            <pc:sldMk cId="1712308204" sldId="2147473991"/>
            <ac:spMk id="3" creationId="{DE5862B4-95A9-EBF7-A0A0-D186060D49A4}"/>
          </ac:spMkLst>
        </pc:spChg>
        <pc:spChg chg="add mod ord">
          <ac:chgData name="Androleit, Sofia" userId="a235e272-1198-4b45-ad6e-d78819128082" providerId="ADAL" clId="{451BAC58-0EA8-4F63-8CEA-D814B48951F3}" dt="2024-12-03T10:43:22.428" v="14896" actId="948"/>
          <ac:spMkLst>
            <pc:docMk/>
            <pc:sldMk cId="1712308204" sldId="2147473991"/>
            <ac:spMk id="4" creationId="{159D5B31-16B8-59B4-DAD5-F38F804BDD82}"/>
          </ac:spMkLst>
        </pc:spChg>
        <pc:spChg chg="add del mod modVis">
          <ac:chgData name="Androleit, Sofia" userId="a235e272-1198-4b45-ad6e-d78819128082" providerId="ADAL" clId="{451BAC58-0EA8-4F63-8CEA-D814B48951F3}" dt="2024-12-03T10:43:22.428" v="14895" actId="962"/>
          <ac:spMkLst>
            <pc:docMk/>
            <pc:sldMk cId="1712308204" sldId="2147473991"/>
            <ac:spMk id="5" creationId="{00C639A3-F22B-CC36-B81D-09F9DAB269B1}"/>
          </ac:spMkLst>
        </pc:spChg>
        <pc:spChg chg="add mod ord">
          <ac:chgData name="Androleit, Sofia" userId="a235e272-1198-4b45-ad6e-d78819128082" providerId="ADAL" clId="{451BAC58-0EA8-4F63-8CEA-D814B48951F3}" dt="2024-12-03T10:43:22.421" v="14885" actId="948"/>
          <ac:spMkLst>
            <pc:docMk/>
            <pc:sldMk cId="1712308204" sldId="2147473991"/>
            <ac:spMk id="7" creationId="{3A63445C-AD14-47DD-358E-EC29FC5DAF62}"/>
          </ac:spMkLst>
        </pc:spChg>
        <pc:spChg chg="add mod ord">
          <ac:chgData name="Androleit, Sofia" userId="a235e272-1198-4b45-ad6e-d78819128082" providerId="ADAL" clId="{451BAC58-0EA8-4F63-8CEA-D814B48951F3}" dt="2024-12-03T10:43:22.418" v="14884" actId="948"/>
          <ac:spMkLst>
            <pc:docMk/>
            <pc:sldMk cId="1712308204" sldId="2147473991"/>
            <ac:spMk id="8" creationId="{6C123B1A-0C48-C366-303D-A776AF4B177F}"/>
          </ac:spMkLst>
        </pc:spChg>
        <pc:spChg chg="mod ord">
          <ac:chgData name="Androleit, Sofia" userId="a235e272-1198-4b45-ad6e-d78819128082" providerId="ADAL" clId="{451BAC58-0EA8-4F63-8CEA-D814B48951F3}" dt="2024-12-03T10:43:22.431" v="14899" actId="948"/>
          <ac:spMkLst>
            <pc:docMk/>
            <pc:sldMk cId="1712308204" sldId="2147473991"/>
            <ac:spMk id="12" creationId="{C524C5C8-0AB4-560B-D46A-9B9DBEADF938}"/>
          </ac:spMkLst>
        </pc:spChg>
        <pc:spChg chg="mod ord">
          <ac:chgData name="Androleit, Sofia" userId="a235e272-1198-4b45-ad6e-d78819128082" providerId="ADAL" clId="{451BAC58-0EA8-4F63-8CEA-D814B48951F3}" dt="2024-12-03T10:43:22.415" v="14878" actId="948"/>
          <ac:spMkLst>
            <pc:docMk/>
            <pc:sldMk cId="1712308204" sldId="2147473991"/>
            <ac:spMk id="18" creationId="{8165B92B-CB83-EB1E-CA07-84F6A998E658}"/>
          </ac:spMkLst>
        </pc:spChg>
        <pc:spChg chg="add del">
          <ac:chgData name="Androleit, Sofia" userId="a235e272-1198-4b45-ad6e-d78819128082" providerId="ADAL" clId="{451BAC58-0EA8-4F63-8CEA-D814B48951F3}" dt="2024-12-03T10:43:22.410" v="14869" actId="478"/>
          <ac:spMkLst>
            <pc:docMk/>
            <pc:sldMk cId="1712308204" sldId="2147473991"/>
            <ac:spMk id="30" creationId="{4994B292-A945-029C-4510-5394EA95CD51}"/>
          </ac:spMkLst>
        </pc:spChg>
        <pc:spChg chg="add del">
          <ac:chgData name="Androleit, Sofia" userId="a235e272-1198-4b45-ad6e-d78819128082" providerId="ADAL" clId="{451BAC58-0EA8-4F63-8CEA-D814B48951F3}" dt="2024-12-03T10:43:22.410" v="14870" actId="478"/>
          <ac:spMkLst>
            <pc:docMk/>
            <pc:sldMk cId="1712308204" sldId="2147473991"/>
            <ac:spMk id="39" creationId="{E39C1245-E9A9-F7AB-0093-DC063E14D02F}"/>
          </ac:spMkLst>
        </pc:spChg>
        <pc:spChg chg="mod ord">
          <ac:chgData name="Androleit, Sofia" userId="a235e272-1198-4b45-ad6e-d78819128082" providerId="ADAL" clId="{451BAC58-0EA8-4F63-8CEA-D814B48951F3}" dt="2024-12-03T10:43:22.411" v="14871" actId="948"/>
          <ac:spMkLst>
            <pc:docMk/>
            <pc:sldMk cId="1712308204" sldId="2147473991"/>
            <ac:spMk id="41" creationId="{48577290-06AC-1C4E-83D0-2006E16866A8}"/>
          </ac:spMkLst>
        </pc:spChg>
        <pc:graphicFrameChg chg="mod">
          <ac:chgData name="Androleit, Sofia" userId="a235e272-1198-4b45-ad6e-d78819128082" providerId="ADAL" clId="{451BAC58-0EA8-4F63-8CEA-D814B48951F3}" dt="2024-12-03T10:43:22.336" v="14633" actId="1076"/>
          <ac:graphicFrameMkLst>
            <pc:docMk/>
            <pc:sldMk cId="1712308204" sldId="2147473991"/>
            <ac:graphicFrameMk id="6" creationId="{56028E92-FE70-7F3A-1143-B30D5BE90A20}"/>
          </ac:graphicFrameMkLst>
        </pc:graphicFrameChg>
      </pc:sldChg>
      <pc:sldChg chg="addSp modSp new mod">
        <pc:chgData name="Androleit, Sofia" userId="a235e272-1198-4b45-ad6e-d78819128082" providerId="ADAL" clId="{451BAC58-0EA8-4F63-8CEA-D814B48951F3}" dt="2024-12-03T11:59:28.045" v="19924" actId="14826"/>
        <pc:sldMkLst>
          <pc:docMk/>
          <pc:sldMk cId="3773276505" sldId="2147473991"/>
        </pc:sldMkLst>
        <pc:spChg chg="mod">
          <ac:chgData name="Androleit, Sofia" userId="a235e272-1198-4b45-ad6e-d78819128082" providerId="ADAL" clId="{451BAC58-0EA8-4F63-8CEA-D814B48951F3}" dt="2024-12-03T11:36:40.001" v="18074" actId="948"/>
          <ac:spMkLst>
            <pc:docMk/>
            <pc:sldMk cId="3773276505" sldId="2147473991"/>
            <ac:spMk id="2" creationId="{C98B5109-BF78-A99C-7283-07F727A761E2}"/>
          </ac:spMkLst>
        </pc:spChg>
        <pc:spChg chg="mod">
          <ac:chgData name="Androleit, Sofia" userId="a235e272-1198-4b45-ad6e-d78819128082" providerId="ADAL" clId="{451BAC58-0EA8-4F63-8CEA-D814B48951F3}" dt="2024-12-03T11:58:11.383" v="19917" actId="14100"/>
          <ac:spMkLst>
            <pc:docMk/>
            <pc:sldMk cId="3773276505" sldId="2147473991"/>
            <ac:spMk id="3" creationId="{F13D197E-BBE3-5D14-888F-49B085AC9CED}"/>
          </ac:spMkLst>
        </pc:spChg>
        <pc:graphicFrameChg chg="add mod ord modVis">
          <ac:chgData name="Androleit, Sofia" userId="a235e272-1198-4b45-ad6e-d78819128082" providerId="ADAL" clId="{451BAC58-0EA8-4F63-8CEA-D814B48951F3}" dt="2024-12-03T11:36:40.001" v="18076"/>
          <ac:graphicFrameMkLst>
            <pc:docMk/>
            <pc:sldMk cId="3773276505" sldId="2147473991"/>
            <ac:graphicFrameMk id="5" creationId="{9BFDC7AC-20CF-0B5C-FA62-2C23FAF4499D}"/>
          </ac:graphicFrameMkLst>
        </pc:graphicFrameChg>
        <pc:picChg chg="add mod">
          <ac:chgData name="Androleit, Sofia" userId="a235e272-1198-4b45-ad6e-d78819128082" providerId="ADAL" clId="{451BAC58-0EA8-4F63-8CEA-D814B48951F3}" dt="2024-12-03T11:59:28.045" v="19924" actId="14826"/>
          <ac:picMkLst>
            <pc:docMk/>
            <pc:sldMk cId="3773276505" sldId="2147473991"/>
            <ac:picMk id="7" creationId="{9159B534-9561-69A0-73B3-358F6D83A2EB}"/>
          </ac:picMkLst>
        </pc:picChg>
      </pc:sldChg>
      <pc:sldChg chg="addSp delSp modSp add mod ord modTransition">
        <pc:chgData name="Androleit, Sofia" userId="a235e272-1198-4b45-ad6e-d78819128082" providerId="ADAL" clId="{451BAC58-0EA8-4F63-8CEA-D814B48951F3}" dt="2024-12-03T11:44:28.624" v="19711"/>
        <pc:sldMkLst>
          <pc:docMk/>
          <pc:sldMk cId="1328443834" sldId="2147473992"/>
        </pc:sldMkLst>
        <pc:spChg chg="mod ord">
          <ac:chgData name="Androleit, Sofia" userId="a235e272-1198-4b45-ad6e-d78819128082" providerId="ADAL" clId="{451BAC58-0EA8-4F63-8CEA-D814B48951F3}" dt="2024-12-03T11:44:28.577" v="19683" actId="948"/>
          <ac:spMkLst>
            <pc:docMk/>
            <pc:sldMk cId="1328443834" sldId="2147473992"/>
            <ac:spMk id="2" creationId="{419A0FBB-9F69-06E6-7FB9-876FE6695F32}"/>
          </ac:spMkLst>
        </pc:spChg>
        <pc:spChg chg="mod ord">
          <ac:chgData name="Androleit, Sofia" userId="a235e272-1198-4b45-ad6e-d78819128082" providerId="ADAL" clId="{451BAC58-0EA8-4F63-8CEA-D814B48951F3}" dt="2024-12-03T11:30:41.783" v="18032"/>
          <ac:spMkLst>
            <pc:docMk/>
            <pc:sldMk cId="1328443834" sldId="2147473992"/>
            <ac:spMk id="3" creationId="{DE5862B4-95A9-EBF7-A0A0-D186060D49A4}"/>
          </ac:spMkLst>
        </pc:spChg>
        <pc:spChg chg="add del mod modVis">
          <ac:chgData name="Androleit, Sofia" userId="a235e272-1198-4b45-ad6e-d78819128082" providerId="ADAL" clId="{451BAC58-0EA8-4F63-8CEA-D814B48951F3}" dt="2024-12-03T11:30:19.518" v="16339"/>
          <ac:spMkLst>
            <pc:docMk/>
            <pc:sldMk cId="1328443834" sldId="2147473992"/>
            <ac:spMk id="4" creationId="{081B3036-9D2B-C989-A685-B6A2EE7B8DB9}"/>
          </ac:spMkLst>
        </pc:spChg>
        <pc:spChg chg="add del mod ord">
          <ac:chgData name="Androleit, Sofia" userId="a235e272-1198-4b45-ad6e-d78819128082" providerId="ADAL" clId="{451BAC58-0EA8-4F63-8CEA-D814B48951F3}" dt="2024-12-03T11:30:27.297" v="16659"/>
          <ac:spMkLst>
            <pc:docMk/>
            <pc:sldMk cId="1328443834" sldId="2147473992"/>
            <ac:spMk id="5" creationId="{DE523C3E-ED54-2F8C-B669-16DF800C8B47}"/>
          </ac:spMkLst>
        </pc:spChg>
        <pc:spChg chg="add del mod ord">
          <ac:chgData name="Androleit, Sofia" userId="a235e272-1198-4b45-ad6e-d78819128082" providerId="ADAL" clId="{451BAC58-0EA8-4F63-8CEA-D814B48951F3}" dt="2024-12-03T11:30:29.094" v="16897"/>
          <ac:spMkLst>
            <pc:docMk/>
            <pc:sldMk cId="1328443834" sldId="2147473992"/>
            <ac:spMk id="7" creationId="{A3674C0F-9B37-F847-E101-F2C7FD18AF48}"/>
          </ac:spMkLst>
        </pc:spChg>
        <pc:spChg chg="add del mod modVis">
          <ac:chgData name="Androleit, Sofia" userId="a235e272-1198-4b45-ad6e-d78819128082" providerId="ADAL" clId="{451BAC58-0EA8-4F63-8CEA-D814B48951F3}" dt="2024-12-03T11:30:27.652" v="16773"/>
          <ac:spMkLst>
            <pc:docMk/>
            <pc:sldMk cId="1328443834" sldId="2147473992"/>
            <ac:spMk id="8" creationId="{E9E70C06-0F15-BBFE-5DF9-ACE418AD0174}"/>
          </ac:spMkLst>
        </pc:spChg>
        <pc:spChg chg="add del mod ord">
          <ac:chgData name="Androleit, Sofia" userId="a235e272-1198-4b45-ad6e-d78819128082" providerId="ADAL" clId="{451BAC58-0EA8-4F63-8CEA-D814B48951F3}" dt="2024-12-03T11:30:32.329" v="17137"/>
          <ac:spMkLst>
            <pc:docMk/>
            <pc:sldMk cId="1328443834" sldId="2147473992"/>
            <ac:spMk id="9" creationId="{C3FD7A90-F828-D5F9-F8BA-D421798CDD46}"/>
          </ac:spMkLst>
        </pc:spChg>
        <pc:spChg chg="add del mod modVis">
          <ac:chgData name="Androleit, Sofia" userId="a235e272-1198-4b45-ad6e-d78819128082" providerId="ADAL" clId="{451BAC58-0EA8-4F63-8CEA-D814B48951F3}" dt="2024-12-03T11:30:29.485" v="17011"/>
          <ac:spMkLst>
            <pc:docMk/>
            <pc:sldMk cId="1328443834" sldId="2147473992"/>
            <ac:spMk id="10" creationId="{D861A705-2924-4E25-22EE-5D109A60B407}"/>
          </ac:spMkLst>
        </pc:spChg>
        <pc:spChg chg="add del mod ord">
          <ac:chgData name="Androleit, Sofia" userId="a235e272-1198-4b45-ad6e-d78819128082" providerId="ADAL" clId="{451BAC58-0EA8-4F63-8CEA-D814B48951F3}" dt="2024-12-03T11:30:34.123" v="17371"/>
          <ac:spMkLst>
            <pc:docMk/>
            <pc:sldMk cId="1328443834" sldId="2147473992"/>
            <ac:spMk id="11" creationId="{DD7FDE15-BA30-7BB3-1D32-A69FC205140B}"/>
          </ac:spMkLst>
        </pc:spChg>
        <pc:spChg chg="add del mod modVis">
          <ac:chgData name="Androleit, Sofia" userId="a235e272-1198-4b45-ad6e-d78819128082" providerId="ADAL" clId="{451BAC58-0EA8-4F63-8CEA-D814B48951F3}" dt="2024-12-03T11:30:32.622" v="17251"/>
          <ac:spMkLst>
            <pc:docMk/>
            <pc:sldMk cId="1328443834" sldId="2147473992"/>
            <ac:spMk id="12" creationId="{A42DB3C4-2FDC-A18B-E84D-B065BCF9ABB7}"/>
          </ac:spMkLst>
        </pc:spChg>
        <pc:spChg chg="mod ord">
          <ac:chgData name="Androleit, Sofia" userId="a235e272-1198-4b45-ad6e-d78819128082" providerId="ADAL" clId="{451BAC58-0EA8-4F63-8CEA-D814B48951F3}" dt="2024-12-03T11:44:28.562" v="19672" actId="948"/>
          <ac:spMkLst>
            <pc:docMk/>
            <pc:sldMk cId="1328443834" sldId="2147473992"/>
            <ac:spMk id="13" creationId="{B69D9357-C6CC-78DF-D544-66EF299218E5}"/>
          </ac:spMkLst>
        </pc:spChg>
        <pc:spChg chg="add del mod ord">
          <ac:chgData name="Androleit, Sofia" userId="a235e272-1198-4b45-ad6e-d78819128082" providerId="ADAL" clId="{451BAC58-0EA8-4F63-8CEA-D814B48951F3}" dt="2024-12-03T11:30:36.013" v="17608"/>
          <ac:spMkLst>
            <pc:docMk/>
            <pc:sldMk cId="1328443834" sldId="2147473992"/>
            <ac:spMk id="14" creationId="{F219D3B2-D753-E1C3-221E-4F39BB80F6A0}"/>
          </ac:spMkLst>
        </pc:spChg>
        <pc:spChg chg="add del mod modVis">
          <ac:chgData name="Androleit, Sofia" userId="a235e272-1198-4b45-ad6e-d78819128082" providerId="ADAL" clId="{451BAC58-0EA8-4F63-8CEA-D814B48951F3}" dt="2024-12-03T11:30:34.429" v="17485"/>
          <ac:spMkLst>
            <pc:docMk/>
            <pc:sldMk cId="1328443834" sldId="2147473992"/>
            <ac:spMk id="15" creationId="{6250DD73-21C1-10BC-22B3-6C85BA753DE6}"/>
          </ac:spMkLst>
        </pc:spChg>
        <pc:spChg chg="add mod ord">
          <ac:chgData name="Androleit, Sofia" userId="a235e272-1198-4b45-ad6e-d78819128082" providerId="ADAL" clId="{451BAC58-0EA8-4F63-8CEA-D814B48951F3}" dt="2024-12-03T11:44:28.562" v="19673" actId="948"/>
          <ac:spMkLst>
            <pc:docMk/>
            <pc:sldMk cId="1328443834" sldId="2147473992"/>
            <ac:spMk id="16" creationId="{E3F97EF9-536A-68E1-0A6F-BBCB661B6C04}"/>
          </ac:spMkLst>
        </pc:spChg>
        <pc:spChg chg="add del mod modVis">
          <ac:chgData name="Androleit, Sofia" userId="a235e272-1198-4b45-ad6e-d78819128082" providerId="ADAL" clId="{451BAC58-0EA8-4F63-8CEA-D814B48951F3}" dt="2024-12-03T11:30:36.374" v="17722"/>
          <ac:spMkLst>
            <pc:docMk/>
            <pc:sldMk cId="1328443834" sldId="2147473992"/>
            <ac:spMk id="17" creationId="{FC78FEAD-22FF-3A0D-FEEC-9E3FE38F90DB}"/>
          </ac:spMkLst>
        </pc:spChg>
        <pc:spChg chg="mod ord">
          <ac:chgData name="Androleit, Sofia" userId="a235e272-1198-4b45-ad6e-d78819128082" providerId="ADAL" clId="{451BAC58-0EA8-4F63-8CEA-D814B48951F3}" dt="2024-12-03T11:44:28.562" v="19674" actId="948"/>
          <ac:spMkLst>
            <pc:docMk/>
            <pc:sldMk cId="1328443834" sldId="2147473992"/>
            <ac:spMk id="24" creationId="{15760897-152C-9144-B298-0F11B0BFDA98}"/>
          </ac:spMkLst>
        </pc:spChg>
        <pc:spChg chg="del mod ord">
          <ac:chgData name="Androleit, Sofia" userId="a235e272-1198-4b45-ad6e-d78819128082" providerId="ADAL" clId="{451BAC58-0EA8-4F63-8CEA-D814B48951F3}" dt="2024-12-03T11:30:41.188" v="17778"/>
          <ac:spMkLst>
            <pc:docMk/>
            <pc:sldMk cId="1328443834" sldId="2147473992"/>
            <ac:spMk id="30" creationId="{344B2F7B-BA44-B6D0-D2AD-9943990B2452}"/>
          </ac:spMkLst>
        </pc:spChg>
        <pc:spChg chg="mod ord">
          <ac:chgData name="Androleit, Sofia" userId="a235e272-1198-4b45-ad6e-d78819128082" providerId="ADAL" clId="{451BAC58-0EA8-4F63-8CEA-D814B48951F3}" dt="2024-12-03T11:44:28.562" v="19675" actId="948"/>
          <ac:spMkLst>
            <pc:docMk/>
            <pc:sldMk cId="1328443834" sldId="2147473992"/>
            <ac:spMk id="36" creationId="{9F79FF48-4FAD-2A49-F9FF-BC0A00A29199}"/>
          </ac:spMkLst>
        </pc:spChg>
        <pc:spChg chg="mod ord">
          <ac:chgData name="Androleit, Sofia" userId="a235e272-1198-4b45-ad6e-d78819128082" providerId="ADAL" clId="{451BAC58-0EA8-4F63-8CEA-D814B48951F3}" dt="2024-12-03T11:44:28.577" v="19676" actId="948"/>
          <ac:spMkLst>
            <pc:docMk/>
            <pc:sldMk cId="1328443834" sldId="2147473992"/>
            <ac:spMk id="40" creationId="{EB04B6D8-F63A-9105-C6C2-A70DE57B3F8A}"/>
          </ac:spMkLst>
        </pc:spChg>
        <pc:graphicFrameChg chg="mod">
          <ac:chgData name="Androleit, Sofia" userId="a235e272-1198-4b45-ad6e-d78819128082" providerId="ADAL" clId="{451BAC58-0EA8-4F63-8CEA-D814B48951F3}" dt="2024-12-03T11:44:28.624" v="19711"/>
          <ac:graphicFrameMkLst>
            <pc:docMk/>
            <pc:sldMk cId="1328443834" sldId="2147473992"/>
            <ac:graphicFrameMk id="6" creationId="{56028E92-FE70-7F3A-1143-B30D5BE90A20}"/>
          </ac:graphicFrameMkLst>
        </pc:graphicFrameChg>
      </pc:sldChg>
      <pc:sldChg chg="addSp delSp modSp add del mod ord modTransition">
        <pc:chgData name="Androleit, Sofia" userId="a235e272-1198-4b45-ad6e-d78819128082" providerId="ADAL" clId="{451BAC58-0EA8-4F63-8CEA-D814B48951F3}" dt="2024-12-03T11:39:48.318" v="18977" actId="2696"/>
        <pc:sldMkLst>
          <pc:docMk/>
          <pc:sldMk cId="566140975" sldId="2147473993"/>
        </pc:sldMkLst>
        <pc:spChg chg="mod ord">
          <ac:chgData name="Androleit, Sofia" userId="a235e272-1198-4b45-ad6e-d78819128082" providerId="ADAL" clId="{451BAC58-0EA8-4F63-8CEA-D814B48951F3}" dt="2024-12-03T11:39:44.706" v="18938"/>
          <ac:spMkLst>
            <pc:docMk/>
            <pc:sldMk cId="566140975" sldId="2147473993"/>
            <ac:spMk id="2" creationId="{419A0FBB-9F69-06E6-7FB9-876FE6695F32}"/>
          </ac:spMkLst>
        </pc:spChg>
        <pc:spChg chg="mod ord">
          <ac:chgData name="Androleit, Sofia" userId="a235e272-1198-4b45-ad6e-d78819128082" providerId="ADAL" clId="{451BAC58-0EA8-4F63-8CEA-D814B48951F3}" dt="2024-12-03T11:39:44.706" v="18940"/>
          <ac:spMkLst>
            <pc:docMk/>
            <pc:sldMk cId="566140975" sldId="2147473993"/>
            <ac:spMk id="3" creationId="{DE5862B4-95A9-EBF7-A0A0-D186060D49A4}"/>
          </ac:spMkLst>
        </pc:spChg>
        <pc:spChg chg="add del mod modVis">
          <ac:chgData name="Androleit, Sofia" userId="a235e272-1198-4b45-ad6e-d78819128082" providerId="ADAL" clId="{451BAC58-0EA8-4F63-8CEA-D814B48951F3}" dt="2024-12-03T11:39:44.721" v="18958"/>
          <ac:spMkLst>
            <pc:docMk/>
            <pc:sldMk cId="566140975" sldId="2147473993"/>
            <ac:spMk id="4" creationId="{F4AB2D04-A1A7-F6F9-49C3-7A443A51D86B}"/>
          </ac:spMkLst>
        </pc:spChg>
        <pc:spChg chg="add mod ord">
          <ac:chgData name="Androleit, Sofia" userId="a235e272-1198-4b45-ad6e-d78819128082" providerId="ADAL" clId="{451BAC58-0EA8-4F63-8CEA-D814B48951F3}" dt="2024-12-03T11:39:44.706" v="18946"/>
          <ac:spMkLst>
            <pc:docMk/>
            <pc:sldMk cId="566140975" sldId="2147473993"/>
            <ac:spMk id="5" creationId="{1DCD6EB7-99DF-9D80-DE15-2A2EAC18FA9F}"/>
          </ac:spMkLst>
        </pc:spChg>
        <pc:spChg chg="add del mod ord">
          <ac:chgData name="Androleit, Sofia" userId="a235e272-1198-4b45-ad6e-d78819128082" providerId="ADAL" clId="{451BAC58-0EA8-4F63-8CEA-D814B48951F3}" dt="2024-12-03T11:39:48.318" v="18976"/>
          <ac:spMkLst>
            <pc:docMk/>
            <pc:sldMk cId="566140975" sldId="2147473993"/>
            <ac:spMk id="7" creationId="{94DA3299-92F5-857C-1CE8-8DF83201124E}"/>
          </ac:spMkLst>
        </pc:spChg>
        <pc:spChg chg="mod ord">
          <ac:chgData name="Androleit, Sofia" userId="a235e272-1198-4b45-ad6e-d78819128082" providerId="ADAL" clId="{451BAC58-0EA8-4F63-8CEA-D814B48951F3}" dt="2024-12-03T11:39:44.706" v="18942"/>
          <ac:spMkLst>
            <pc:docMk/>
            <pc:sldMk cId="566140975" sldId="2147473993"/>
            <ac:spMk id="12" creationId="{63FBCAB6-7102-73B4-C103-EF2EECFCD953}"/>
          </ac:spMkLst>
        </pc:spChg>
        <pc:spChg chg="mod ord">
          <ac:chgData name="Androleit, Sofia" userId="a235e272-1198-4b45-ad6e-d78819128082" providerId="ADAL" clId="{451BAC58-0EA8-4F63-8CEA-D814B48951F3}" dt="2024-12-03T11:39:44.706" v="18944"/>
          <ac:spMkLst>
            <pc:docMk/>
            <pc:sldMk cId="566140975" sldId="2147473993"/>
            <ac:spMk id="18" creationId="{839CEA17-3934-6B4B-54E4-62C65D75AC48}"/>
          </ac:spMkLst>
        </pc:spChg>
        <pc:spChg chg="del">
          <ac:chgData name="Androleit, Sofia" userId="a235e272-1198-4b45-ad6e-d78819128082" providerId="ADAL" clId="{451BAC58-0EA8-4F63-8CEA-D814B48951F3}" dt="2024-12-03T11:39:44.549" v="18793"/>
          <ac:spMkLst>
            <pc:docMk/>
            <pc:sldMk cId="566140975" sldId="2147473993"/>
            <ac:spMk id="19" creationId="{5CEB7346-DE50-6886-23CD-2577B7992C5D}"/>
          </ac:spMkLst>
        </pc:spChg>
        <pc:spChg chg="mod ord">
          <ac:chgData name="Androleit, Sofia" userId="a235e272-1198-4b45-ad6e-d78819128082" providerId="ADAL" clId="{451BAC58-0EA8-4F63-8CEA-D814B48951F3}" dt="2024-12-03T11:39:44.721" v="18950"/>
          <ac:spMkLst>
            <pc:docMk/>
            <pc:sldMk cId="566140975" sldId="2147473993"/>
            <ac:spMk id="23" creationId="{A109A294-7BD9-E17A-1B3B-98A5C569EA1F}"/>
          </ac:spMkLst>
        </pc:spChg>
        <pc:spChg chg="del">
          <ac:chgData name="Androleit, Sofia" userId="a235e272-1198-4b45-ad6e-d78819128082" providerId="ADAL" clId="{451BAC58-0EA8-4F63-8CEA-D814B48951F3}" dt="2024-12-03T11:39:44.549" v="18791"/>
          <ac:spMkLst>
            <pc:docMk/>
            <pc:sldMk cId="566140975" sldId="2147473993"/>
            <ac:spMk id="26" creationId="{5F8C8CE3-EB0E-7F78-CC86-97C2363F1B5E}"/>
          </ac:spMkLst>
        </pc:spChg>
        <pc:graphicFrameChg chg="mod">
          <ac:chgData name="Androleit, Sofia" userId="a235e272-1198-4b45-ad6e-d78819128082" providerId="ADAL" clId="{451BAC58-0EA8-4F63-8CEA-D814B48951F3}" dt="2024-12-03T11:39:44.721" v="18960"/>
          <ac:graphicFrameMkLst>
            <pc:docMk/>
            <pc:sldMk cId="566140975" sldId="2147473993"/>
            <ac:graphicFrameMk id="6" creationId="{56028E92-FE70-7F3A-1143-B30D5BE90A20}"/>
          </ac:graphicFrameMkLst>
        </pc:graphicFrameChg>
      </pc:sldChg>
      <pc:sldMasterChg chg="modSp mod delSldLayout modSldLayout">
        <pc:chgData name="Androleit, Sofia" userId="a235e272-1198-4b45-ad6e-d78819128082" providerId="ADAL" clId="{451BAC58-0EA8-4F63-8CEA-D814B48951F3}" dt="2024-12-03T10:11:50.093" v="12937"/>
        <pc:sldMasterMkLst>
          <pc:docMk/>
          <pc:sldMasterMk cId="3591753961" sldId="2147483694"/>
        </pc:sldMasterMkLst>
        <pc:spChg chg="mod">
          <ac:chgData name="Androleit, Sofia" userId="a235e272-1198-4b45-ad6e-d78819128082" providerId="ADAL" clId="{451BAC58-0EA8-4F63-8CEA-D814B48951F3}" dt="2024-12-03T10:11:32.291" v="12935" actId="20577"/>
          <ac:spMkLst>
            <pc:docMk/>
            <pc:sldMasterMk cId="3591753961" sldId="2147483694"/>
            <ac:spMk id="3" creationId="{FD949B66-5221-5B65-0C5D-58D2F0D74F5D}"/>
          </ac:spMkLst>
        </pc:spChg>
        <pc:sldLayoutChg chg="modSp mod">
          <pc:chgData name="Androleit, Sofia" userId="a235e272-1198-4b45-ad6e-d78819128082" providerId="ADAL" clId="{451BAC58-0EA8-4F63-8CEA-D814B48951F3}" dt="2024-12-03T10:11:46.045" v="12936"/>
          <pc:sldLayoutMkLst>
            <pc:docMk/>
            <pc:sldMasterMk cId="3591753961" sldId="2147483694"/>
            <pc:sldLayoutMk cId="1712572473" sldId="2147483697"/>
          </pc:sldLayoutMkLst>
          <pc:spChg chg="mod">
            <ac:chgData name="Androleit, Sofia" userId="a235e272-1198-4b45-ad6e-d78819128082" providerId="ADAL" clId="{451BAC58-0EA8-4F63-8CEA-D814B48951F3}" dt="2024-12-03T10:11:46.045" v="12936"/>
            <ac:spMkLst>
              <pc:docMk/>
              <pc:sldMasterMk cId="3591753961" sldId="2147483694"/>
              <pc:sldLayoutMk cId="1712572473" sldId="2147483697"/>
              <ac:spMk id="2" creationId="{443E8101-94CC-5C90-C59C-228F08F33E7A}"/>
            </ac:spMkLst>
          </pc:spChg>
        </pc:sldLayoutChg>
        <pc:sldLayoutChg chg="modSp mod">
          <pc:chgData name="Androleit, Sofia" userId="a235e272-1198-4b45-ad6e-d78819128082" providerId="ADAL" clId="{451BAC58-0EA8-4F63-8CEA-D814B48951F3}" dt="2024-12-03T10:11:50.093" v="12937"/>
          <pc:sldLayoutMkLst>
            <pc:docMk/>
            <pc:sldMasterMk cId="3591753961" sldId="2147483694"/>
            <pc:sldLayoutMk cId="1537756227" sldId="2147483698"/>
          </pc:sldLayoutMkLst>
          <pc:spChg chg="mod">
            <ac:chgData name="Androleit, Sofia" userId="a235e272-1198-4b45-ad6e-d78819128082" providerId="ADAL" clId="{451BAC58-0EA8-4F63-8CEA-D814B48951F3}" dt="2024-12-03T10:11:50.093" v="12937"/>
            <ac:spMkLst>
              <pc:docMk/>
              <pc:sldMasterMk cId="3591753961" sldId="2147483694"/>
              <pc:sldLayoutMk cId="1537756227" sldId="2147483698"/>
              <ac:spMk id="2" creationId="{93E23B55-BFEC-5A43-70BD-124D69ED231E}"/>
            </ac:spMkLst>
          </pc:spChg>
        </pc:sldLayoutChg>
        <pc:sldLayoutChg chg="del">
          <pc:chgData name="Androleit, Sofia" userId="a235e272-1198-4b45-ad6e-d78819128082" providerId="ADAL" clId="{451BAC58-0EA8-4F63-8CEA-D814B48951F3}" dt="2024-12-03T10:06:20.816" v="2" actId="2696"/>
          <pc:sldLayoutMkLst>
            <pc:docMk/>
            <pc:sldMasterMk cId="3591753961" sldId="2147483694"/>
            <pc:sldLayoutMk cId="2416283991" sldId="2147483714"/>
          </pc:sldLayoutMkLst>
        </pc:sldLayoutChg>
        <pc:sldLayoutChg chg="del">
          <pc:chgData name="Androleit, Sofia" userId="a235e272-1198-4b45-ad6e-d78819128082" providerId="ADAL" clId="{451BAC58-0EA8-4F63-8CEA-D814B48951F3}" dt="2024-12-03T10:06:29.876" v="549" actId="2696"/>
          <pc:sldLayoutMkLst>
            <pc:docMk/>
            <pc:sldMasterMk cId="3591753961" sldId="2147483694"/>
            <pc:sldLayoutMk cId="3733468827" sldId="2147483715"/>
          </pc:sldLayoutMkLst>
        </pc:sldLayoutChg>
      </pc:sldMasterChg>
    </pc:docChg>
  </pc:docChgLst>
  <pc:docChgLst>
    <pc:chgData name="Androleit, Sofia" userId="a235e272-1198-4b45-ad6e-d78819128082" providerId="ADAL" clId="{CFFA14C4-1F20-45F0-A16B-155A83D4A48C}"/>
    <pc:docChg chg="undo custSel addSld delSld modSld sldOrd">
      <pc:chgData name="Androleit, Sofia" userId="a235e272-1198-4b45-ad6e-d78819128082" providerId="ADAL" clId="{CFFA14C4-1F20-45F0-A16B-155A83D4A48C}" dt="2024-12-06T14:33:47.548" v="2286" actId="47"/>
      <pc:docMkLst>
        <pc:docMk/>
      </pc:docMkLst>
      <pc:sldChg chg="modSp mod">
        <pc:chgData name="Androleit, Sofia" userId="a235e272-1198-4b45-ad6e-d78819128082" providerId="ADAL" clId="{CFFA14C4-1F20-45F0-A16B-155A83D4A48C}" dt="2024-12-04T18:13:47.263" v="122" actId="20577"/>
        <pc:sldMkLst>
          <pc:docMk/>
          <pc:sldMk cId="1007497733" sldId="348"/>
        </pc:sldMkLst>
        <pc:spChg chg="mod">
          <ac:chgData name="Androleit, Sofia" userId="a235e272-1198-4b45-ad6e-d78819128082" providerId="ADAL" clId="{CFFA14C4-1F20-45F0-A16B-155A83D4A48C}" dt="2024-12-04T18:13:47.263" v="122" actId="20577"/>
          <ac:spMkLst>
            <pc:docMk/>
            <pc:sldMk cId="1007497733" sldId="348"/>
            <ac:spMk id="5" creationId="{3B5C146B-DA67-93D7-761A-A487D5EA0F81}"/>
          </ac:spMkLst>
        </pc:spChg>
      </pc:sldChg>
      <pc:sldChg chg="addSp delSp modSp add mod">
        <pc:chgData name="Androleit, Sofia" userId="a235e272-1198-4b45-ad6e-d78819128082" providerId="ADAL" clId="{CFFA14C4-1F20-45F0-A16B-155A83D4A48C}" dt="2024-12-04T18:15:28.026" v="241"/>
        <pc:sldMkLst>
          <pc:docMk/>
          <pc:sldMk cId="1711702419" sldId="355"/>
        </pc:sldMkLst>
        <pc:spChg chg="add del mod modVis">
          <ac:chgData name="Androleit, Sofia" userId="a235e272-1198-4b45-ad6e-d78819128082" providerId="ADAL" clId="{CFFA14C4-1F20-45F0-A16B-155A83D4A48C}" dt="2024-12-04T18:15:25.459" v="202"/>
          <ac:spMkLst>
            <pc:docMk/>
            <pc:sldMk cId="1711702419" sldId="355"/>
            <ac:spMk id="3" creationId="{CCF12705-B29F-9A65-E0BA-7B1DC10AFA96}"/>
          </ac:spMkLst>
        </pc:spChg>
        <pc:spChg chg="mod">
          <ac:chgData name="Androleit, Sofia" userId="a235e272-1198-4b45-ad6e-d78819128082" providerId="ADAL" clId="{CFFA14C4-1F20-45F0-A16B-155A83D4A48C}" dt="2024-12-04T18:15:27.992" v="218" actId="948"/>
          <ac:spMkLst>
            <pc:docMk/>
            <pc:sldMk cId="1711702419" sldId="355"/>
            <ac:spMk id="5" creationId="{40F96789-EB3F-631E-54F8-3F8012C97C34}"/>
          </ac:spMkLst>
        </pc:spChg>
        <pc:spChg chg="add del mod modVis">
          <ac:chgData name="Androleit, Sofia" userId="a235e272-1198-4b45-ad6e-d78819128082" providerId="ADAL" clId="{CFFA14C4-1F20-45F0-A16B-155A83D4A48C}" dt="2024-12-04T18:15:28.026" v="239"/>
          <ac:spMkLst>
            <pc:docMk/>
            <pc:sldMk cId="1711702419" sldId="355"/>
            <ac:spMk id="8" creationId="{F92AE9D9-0BE8-85A2-B83F-5C57DBC53C29}"/>
          </ac:spMkLst>
        </pc:spChg>
        <pc:graphicFrameChg chg="mod">
          <ac:chgData name="Androleit, Sofia" userId="a235e272-1198-4b45-ad6e-d78819128082" providerId="ADAL" clId="{CFFA14C4-1F20-45F0-A16B-155A83D4A48C}" dt="2024-12-04T18:15:28.026" v="241"/>
          <ac:graphicFrameMkLst>
            <pc:docMk/>
            <pc:sldMk cId="1711702419" sldId="355"/>
            <ac:graphicFrameMk id="7" creationId="{B2BE67A2-8D22-5238-6250-A628C7B5BA6B}"/>
          </ac:graphicFrameMkLst>
        </pc:graphicFrameChg>
      </pc:sldChg>
      <pc:sldChg chg="add del">
        <pc:chgData name="Androleit, Sofia" userId="a235e272-1198-4b45-ad6e-d78819128082" providerId="ADAL" clId="{CFFA14C4-1F20-45F0-A16B-155A83D4A48C}" dt="2024-12-04T22:55:28.013" v="1854" actId="2696"/>
        <pc:sldMkLst>
          <pc:docMk/>
          <pc:sldMk cId="1853529447" sldId="11983"/>
        </pc:sldMkLst>
      </pc:sldChg>
      <pc:sldChg chg="add del">
        <pc:chgData name="Androleit, Sofia" userId="a235e272-1198-4b45-ad6e-d78819128082" providerId="ADAL" clId="{CFFA14C4-1F20-45F0-A16B-155A83D4A48C}" dt="2024-12-04T22:55:28.013" v="1854" actId="2696"/>
        <pc:sldMkLst>
          <pc:docMk/>
          <pc:sldMk cId="2966189299" sldId="12019"/>
        </pc:sldMkLst>
      </pc:sldChg>
      <pc:sldChg chg="add del">
        <pc:chgData name="Androleit, Sofia" userId="a235e272-1198-4b45-ad6e-d78819128082" providerId="ADAL" clId="{CFFA14C4-1F20-45F0-A16B-155A83D4A48C}" dt="2024-12-04T22:55:28.013" v="1854" actId="2696"/>
        <pc:sldMkLst>
          <pc:docMk/>
          <pc:sldMk cId="2325623967" sldId="12054"/>
        </pc:sldMkLst>
      </pc:sldChg>
      <pc:sldChg chg="add del">
        <pc:chgData name="Androleit, Sofia" userId="a235e272-1198-4b45-ad6e-d78819128082" providerId="ADAL" clId="{CFFA14C4-1F20-45F0-A16B-155A83D4A48C}" dt="2024-12-04T22:55:28.013" v="1854" actId="2696"/>
        <pc:sldMkLst>
          <pc:docMk/>
          <pc:sldMk cId="3672013654" sldId="12247"/>
        </pc:sldMkLst>
      </pc:sldChg>
      <pc:sldChg chg="add del">
        <pc:chgData name="Androleit, Sofia" userId="a235e272-1198-4b45-ad6e-d78819128082" providerId="ADAL" clId="{CFFA14C4-1F20-45F0-A16B-155A83D4A48C}" dt="2024-12-06T14:32:33.072" v="2284" actId="47"/>
        <pc:sldMkLst>
          <pc:docMk/>
          <pc:sldMk cId="3579792704" sldId="2141412377"/>
        </pc:sldMkLst>
      </pc:sldChg>
      <pc:sldChg chg="modSp add del mod">
        <pc:chgData name="Androleit, Sofia" userId="a235e272-1198-4b45-ad6e-d78819128082" providerId="ADAL" clId="{CFFA14C4-1F20-45F0-A16B-155A83D4A48C}" dt="2024-12-06T14:33:47.548" v="2286" actId="47"/>
        <pc:sldMkLst>
          <pc:docMk/>
          <pc:sldMk cId="1631596107" sldId="2141412378"/>
        </pc:sldMkLst>
        <pc:spChg chg="mod">
          <ac:chgData name="Androleit, Sofia" userId="a235e272-1198-4b45-ad6e-d78819128082" providerId="ADAL" clId="{CFFA14C4-1F20-45F0-A16B-155A83D4A48C}" dt="2024-12-04T22:56:47.320" v="2170" actId="14100"/>
          <ac:spMkLst>
            <pc:docMk/>
            <pc:sldMk cId="1631596107" sldId="2141412378"/>
            <ac:spMk id="10" creationId="{053F5374-D5D6-9473-77CB-C0B8352CD491}"/>
          </ac:spMkLst>
        </pc:spChg>
        <pc:graphicFrameChg chg="mod">
          <ac:chgData name="Androleit, Sofia" userId="a235e272-1198-4b45-ad6e-d78819128082" providerId="ADAL" clId="{CFFA14C4-1F20-45F0-A16B-155A83D4A48C}" dt="2024-12-04T22:56:13.937" v="2156"/>
          <ac:graphicFrameMkLst>
            <pc:docMk/>
            <pc:sldMk cId="1631596107" sldId="2141412378"/>
            <ac:graphicFrameMk id="6" creationId="{1784DA45-41C5-D3CC-8FC1-E27FA9B9E204}"/>
          </ac:graphicFrameMkLst>
        </pc:graphicFrameChg>
      </pc:sldChg>
      <pc:sldChg chg="add">
        <pc:chgData name="Androleit, Sofia" userId="a235e272-1198-4b45-ad6e-d78819128082" providerId="ADAL" clId="{CFFA14C4-1F20-45F0-A16B-155A83D4A48C}" dt="2024-12-04T18:25:49.095" v="1824"/>
        <pc:sldMkLst>
          <pc:docMk/>
          <pc:sldMk cId="3036043915" sldId="2141412379"/>
        </pc:sldMkLst>
      </pc:sldChg>
      <pc:sldChg chg="add">
        <pc:chgData name="Androleit, Sofia" userId="a235e272-1198-4b45-ad6e-d78819128082" providerId="ADAL" clId="{CFFA14C4-1F20-45F0-A16B-155A83D4A48C}" dt="2024-12-04T18:25:49.095" v="1824"/>
        <pc:sldMkLst>
          <pc:docMk/>
          <pc:sldMk cId="63494748" sldId="2141412380"/>
        </pc:sldMkLst>
      </pc:sldChg>
      <pc:sldChg chg="add">
        <pc:chgData name="Androleit, Sofia" userId="a235e272-1198-4b45-ad6e-d78819128082" providerId="ADAL" clId="{CFFA14C4-1F20-45F0-A16B-155A83D4A48C}" dt="2024-12-04T18:25:49.095" v="1824"/>
        <pc:sldMkLst>
          <pc:docMk/>
          <pc:sldMk cId="817067389" sldId="2141412381"/>
        </pc:sldMkLst>
      </pc:sldChg>
      <pc:sldChg chg="addSp delSp modSp add mod">
        <pc:chgData name="Androleit, Sofia" userId="a235e272-1198-4b45-ad6e-d78819128082" providerId="ADAL" clId="{CFFA14C4-1F20-45F0-A16B-155A83D4A48C}" dt="2024-12-06T14:32:58.764" v="2285" actId="478"/>
        <pc:sldMkLst>
          <pc:docMk/>
          <pc:sldMk cId="446919473" sldId="2141412382"/>
        </pc:sldMkLst>
        <pc:spChg chg="add mod">
          <ac:chgData name="Androleit, Sofia" userId="a235e272-1198-4b45-ad6e-d78819128082" providerId="ADAL" clId="{CFFA14C4-1F20-45F0-A16B-155A83D4A48C}" dt="2024-12-06T14:32:58.764" v="2285" actId="478"/>
          <ac:spMkLst>
            <pc:docMk/>
            <pc:sldMk cId="446919473" sldId="2141412382"/>
            <ac:spMk id="4" creationId="{4BCE49E8-ACD7-8401-5B01-443E3EA0421F}"/>
          </ac:spMkLst>
        </pc:spChg>
        <pc:spChg chg="del">
          <ac:chgData name="Androleit, Sofia" userId="a235e272-1198-4b45-ad6e-d78819128082" providerId="ADAL" clId="{CFFA14C4-1F20-45F0-A16B-155A83D4A48C}" dt="2024-12-06T14:32:58.764" v="2285" actId="478"/>
          <ac:spMkLst>
            <pc:docMk/>
            <pc:sldMk cId="446919473" sldId="2141412382"/>
            <ac:spMk id="13" creationId="{8F45E0CA-5C32-0FB5-41D5-5DE095D8457C}"/>
          </ac:spMkLst>
        </pc:spChg>
      </pc:sldChg>
      <pc:sldChg chg="add del">
        <pc:chgData name="Androleit, Sofia" userId="a235e272-1198-4b45-ad6e-d78819128082" providerId="ADAL" clId="{CFFA14C4-1F20-45F0-A16B-155A83D4A48C}" dt="2024-12-06T14:32:10.055" v="2171" actId="47"/>
        <pc:sldMkLst>
          <pc:docMk/>
          <pc:sldMk cId="3630063836" sldId="2147473543"/>
        </pc:sldMkLst>
      </pc:sldChg>
      <pc:sldChg chg="add">
        <pc:chgData name="Androleit, Sofia" userId="a235e272-1198-4b45-ad6e-d78819128082" providerId="ADAL" clId="{CFFA14C4-1F20-45F0-A16B-155A83D4A48C}" dt="2024-12-04T18:25:49.095" v="1824"/>
        <pc:sldMkLst>
          <pc:docMk/>
          <pc:sldMk cId="87288147" sldId="2147473599"/>
        </pc:sldMkLst>
      </pc:sldChg>
      <pc:sldChg chg="addSp delSp modSp del mod ord modTransition">
        <pc:chgData name="Androleit, Sofia" userId="a235e272-1198-4b45-ad6e-d78819128082" providerId="ADAL" clId="{CFFA14C4-1F20-45F0-A16B-155A83D4A48C}" dt="2024-12-06T14:32:15.870" v="2173" actId="47"/>
        <pc:sldMkLst>
          <pc:docMk/>
          <pc:sldMk cId="4175456837" sldId="2147473690"/>
        </pc:sldMkLst>
        <pc:spChg chg="mod ord">
          <ac:chgData name="Androleit, Sofia" userId="a235e272-1198-4b45-ad6e-d78819128082" providerId="ADAL" clId="{CFFA14C4-1F20-45F0-A16B-155A83D4A48C}" dt="2024-12-04T22:55:32.330" v="2119"/>
          <ac:spMkLst>
            <pc:docMk/>
            <pc:sldMk cId="4175456837" sldId="2147473690"/>
            <ac:spMk id="2" creationId="{419A0FBB-9F69-06E6-7FB9-876FE6695F32}"/>
          </ac:spMkLst>
        </pc:spChg>
        <pc:spChg chg="mod ord">
          <ac:chgData name="Androleit, Sofia" userId="a235e272-1198-4b45-ad6e-d78819128082" providerId="ADAL" clId="{CFFA14C4-1F20-45F0-A16B-155A83D4A48C}" dt="2024-12-04T22:55:32.341" v="2121"/>
          <ac:spMkLst>
            <pc:docMk/>
            <pc:sldMk cId="4175456837" sldId="2147473690"/>
            <ac:spMk id="3" creationId="{DE5862B4-95A9-EBF7-A0A0-D186060D49A4}"/>
          </ac:spMkLst>
        </pc:spChg>
        <pc:spChg chg="add del mod modVis">
          <ac:chgData name="Androleit, Sofia" userId="a235e272-1198-4b45-ad6e-d78819128082" providerId="ADAL" clId="{CFFA14C4-1F20-45F0-A16B-155A83D4A48C}" dt="2024-12-04T22:55:30.185" v="2064"/>
          <ac:spMkLst>
            <pc:docMk/>
            <pc:sldMk cId="4175456837" sldId="2147473690"/>
            <ac:spMk id="4" creationId="{621BC193-49A8-1A44-B35B-6766D2457FBA}"/>
          </ac:spMkLst>
        </pc:spChg>
        <pc:spChg chg="add del mod modVis">
          <ac:chgData name="Androleit, Sofia" userId="a235e272-1198-4b45-ad6e-d78819128082" providerId="ADAL" clId="{CFFA14C4-1F20-45F0-A16B-155A83D4A48C}" dt="2024-12-04T18:14:00.575" v="161"/>
          <ac:spMkLst>
            <pc:docMk/>
            <pc:sldMk cId="4175456837" sldId="2147473690"/>
            <ac:spMk id="4" creationId="{EF80CBBB-CF74-957E-9A79-8C291B69C0CE}"/>
          </ac:spMkLst>
        </pc:spChg>
        <pc:spChg chg="add del mod modVis">
          <ac:chgData name="Androleit, Sofia" userId="a235e272-1198-4b45-ad6e-d78819128082" providerId="ADAL" clId="{CFFA14C4-1F20-45F0-A16B-155A83D4A48C}" dt="2024-12-04T18:23:51.039" v="283"/>
          <ac:spMkLst>
            <pc:docMk/>
            <pc:sldMk cId="4175456837" sldId="2147473690"/>
            <ac:spMk id="5" creationId="{45573001-9CF8-AB70-0D41-487CA3716955}"/>
          </ac:spMkLst>
        </pc:spChg>
        <pc:spChg chg="add del mod modVis">
          <ac:chgData name="Androleit, Sofia" userId="a235e272-1198-4b45-ad6e-d78819128082" providerId="ADAL" clId="{CFFA14C4-1F20-45F0-A16B-155A83D4A48C}" dt="2024-12-04T18:23:57.256" v="343"/>
          <ac:spMkLst>
            <pc:docMk/>
            <pc:sldMk cId="4175456837" sldId="2147473690"/>
            <ac:spMk id="7" creationId="{63CBEA52-53E0-1387-F3B0-D68A6672C00C}"/>
          </ac:spMkLst>
        </pc:spChg>
        <pc:spChg chg="del">
          <ac:chgData name="Androleit, Sofia" userId="a235e272-1198-4b45-ad6e-d78819128082" providerId="ADAL" clId="{CFFA14C4-1F20-45F0-A16B-155A83D4A48C}" dt="2024-12-04T18:14:00.526" v="129"/>
          <ac:spMkLst>
            <pc:docMk/>
            <pc:sldMk cId="4175456837" sldId="2147473690"/>
            <ac:spMk id="8" creationId="{3E645D5D-E3C3-84BA-9040-EE57EDFAD393}"/>
          </ac:spMkLst>
        </pc:spChg>
        <pc:spChg chg="add del mod ord">
          <ac:chgData name="Androleit, Sofia" userId="a235e272-1198-4b45-ad6e-d78819128082" providerId="ADAL" clId="{CFFA14C4-1F20-45F0-A16B-155A83D4A48C}" dt="2024-12-04T18:24:26.771" v="606"/>
          <ac:spMkLst>
            <pc:docMk/>
            <pc:sldMk cId="4175456837" sldId="2147473690"/>
            <ac:spMk id="9" creationId="{65CB7EBB-3C19-BCF0-FEEB-B0589FE59C87}"/>
          </ac:spMkLst>
        </pc:spChg>
        <pc:spChg chg="add del mod modVis">
          <ac:chgData name="Androleit, Sofia" userId="a235e272-1198-4b45-ad6e-d78819128082" providerId="ADAL" clId="{CFFA14C4-1F20-45F0-A16B-155A83D4A48C}" dt="2024-12-04T18:24:00.885" v="465"/>
          <ac:spMkLst>
            <pc:docMk/>
            <pc:sldMk cId="4175456837" sldId="2147473690"/>
            <ac:spMk id="10" creationId="{02CC95E5-412E-4449-F29B-FA382D6EA719}"/>
          </ac:spMkLst>
        </pc:spChg>
        <pc:spChg chg="add del mod modVis">
          <ac:chgData name="Androleit, Sofia" userId="a235e272-1198-4b45-ad6e-d78819128082" providerId="ADAL" clId="{CFFA14C4-1F20-45F0-A16B-155A83D4A48C}" dt="2024-12-04T18:24:13.716" v="595"/>
          <ac:spMkLst>
            <pc:docMk/>
            <pc:sldMk cId="4175456837" sldId="2147473690"/>
            <ac:spMk id="11" creationId="{FCC5F089-E45A-AD0A-AA62-E7E771EAC8E9}"/>
          </ac:spMkLst>
        </pc:spChg>
        <pc:spChg chg="add del mod ord">
          <ac:chgData name="Androleit, Sofia" userId="a235e272-1198-4b45-ad6e-d78819128082" providerId="ADAL" clId="{CFFA14C4-1F20-45F0-A16B-155A83D4A48C}" dt="2024-12-04T18:24:28.862" v="642"/>
          <ac:spMkLst>
            <pc:docMk/>
            <pc:sldMk cId="4175456837" sldId="2147473690"/>
            <ac:spMk id="12" creationId="{3878F948-0BAF-8A94-C11D-08F6F3C6A6B4}"/>
          </ac:spMkLst>
        </pc:spChg>
        <pc:spChg chg="add del mod ord">
          <ac:chgData name="Androleit, Sofia" userId="a235e272-1198-4b45-ad6e-d78819128082" providerId="ADAL" clId="{CFFA14C4-1F20-45F0-A16B-155A83D4A48C}" dt="2024-12-04T18:24:31.377" v="722"/>
          <ac:spMkLst>
            <pc:docMk/>
            <pc:sldMk cId="4175456837" sldId="2147473690"/>
            <ac:spMk id="13" creationId="{64752A42-36C2-F813-22E9-A59E76907C3B}"/>
          </ac:spMkLst>
        </pc:spChg>
        <pc:spChg chg="del">
          <ac:chgData name="Androleit, Sofia" userId="a235e272-1198-4b45-ad6e-d78819128082" providerId="ADAL" clId="{CFFA14C4-1F20-45F0-A16B-155A83D4A48C}" dt="2024-12-04T18:14:00.526" v="131"/>
          <ac:spMkLst>
            <pc:docMk/>
            <pc:sldMk cId="4175456837" sldId="2147473690"/>
            <ac:spMk id="14" creationId="{1A29CD13-6BDC-FB34-3224-38BB34F6997A}"/>
          </ac:spMkLst>
        </pc:spChg>
        <pc:spChg chg="add del mod modVis">
          <ac:chgData name="Androleit, Sofia" userId="a235e272-1198-4b45-ad6e-d78819128082" providerId="ADAL" clId="{CFFA14C4-1F20-45F0-A16B-155A83D4A48C}" dt="2024-12-04T18:24:28.964" v="702"/>
          <ac:spMkLst>
            <pc:docMk/>
            <pc:sldMk cId="4175456837" sldId="2147473690"/>
            <ac:spMk id="15" creationId="{05F64400-1D72-E97D-4E18-E295BBF8636B}"/>
          </ac:spMkLst>
        </pc:spChg>
        <pc:spChg chg="add del mod ord">
          <ac:chgData name="Androleit, Sofia" userId="a235e272-1198-4b45-ad6e-d78819128082" providerId="ADAL" clId="{CFFA14C4-1F20-45F0-A16B-155A83D4A48C}" dt="2024-12-04T18:24:34.298" v="803"/>
          <ac:spMkLst>
            <pc:docMk/>
            <pc:sldMk cId="4175456837" sldId="2147473690"/>
            <ac:spMk id="16" creationId="{22491C95-3D92-C77F-0126-E8B08B4D966E}"/>
          </ac:spMkLst>
        </pc:spChg>
        <pc:spChg chg="add del mod modVis">
          <ac:chgData name="Androleit, Sofia" userId="a235e272-1198-4b45-ad6e-d78819128082" providerId="ADAL" clId="{CFFA14C4-1F20-45F0-A16B-155A83D4A48C}" dt="2024-12-04T18:24:31.468" v="782"/>
          <ac:spMkLst>
            <pc:docMk/>
            <pc:sldMk cId="4175456837" sldId="2147473690"/>
            <ac:spMk id="17" creationId="{A512069A-C221-68E0-FE7A-956380C22E2B}"/>
          </ac:spMkLst>
        </pc:spChg>
        <pc:spChg chg="add del mod ord">
          <ac:chgData name="Androleit, Sofia" userId="a235e272-1198-4b45-ad6e-d78819128082" providerId="ADAL" clId="{CFFA14C4-1F20-45F0-A16B-155A83D4A48C}" dt="2024-12-04T22:55:32.282" v="2084"/>
          <ac:spMkLst>
            <pc:docMk/>
            <pc:sldMk cId="4175456837" sldId="2147473690"/>
            <ac:spMk id="18" creationId="{7870B479-07A7-6F1A-4392-63A972E12F76}"/>
          </ac:spMkLst>
        </pc:spChg>
        <pc:spChg chg="add del mod modVis">
          <ac:chgData name="Androleit, Sofia" userId="a235e272-1198-4b45-ad6e-d78819128082" providerId="ADAL" clId="{CFFA14C4-1F20-45F0-A16B-155A83D4A48C}" dt="2024-12-04T18:24:34.408" v="863"/>
          <ac:spMkLst>
            <pc:docMk/>
            <pc:sldMk cId="4175456837" sldId="2147473690"/>
            <ac:spMk id="19" creationId="{CE90BE3F-FF02-1DDC-13E1-A9F7F69E12CA}"/>
          </ac:spMkLst>
        </pc:spChg>
        <pc:spChg chg="add del mod ord">
          <ac:chgData name="Androleit, Sofia" userId="a235e272-1198-4b45-ad6e-d78819128082" providerId="ADAL" clId="{CFFA14C4-1F20-45F0-A16B-155A83D4A48C}" dt="2024-12-04T18:24:40.212" v="1055"/>
          <ac:spMkLst>
            <pc:docMk/>
            <pc:sldMk cId="4175456837" sldId="2147473690"/>
            <ac:spMk id="20" creationId="{B9B0E395-11D1-AAA5-3D38-55E49C98281B}"/>
          </ac:spMkLst>
        </pc:spChg>
        <pc:spChg chg="mod ord">
          <ac:chgData name="Androleit, Sofia" userId="a235e272-1198-4b45-ad6e-d78819128082" providerId="ADAL" clId="{CFFA14C4-1F20-45F0-A16B-155A83D4A48C}" dt="2024-12-04T22:55:32.341" v="2123"/>
          <ac:spMkLst>
            <pc:docMk/>
            <pc:sldMk cId="4175456837" sldId="2147473690"/>
            <ac:spMk id="21" creationId="{D8D1A18E-A0DF-23DA-ADF7-4654EA917E83}"/>
          </ac:spMkLst>
        </pc:spChg>
        <pc:spChg chg="add del mod modVis">
          <ac:chgData name="Androleit, Sofia" userId="a235e272-1198-4b45-ad6e-d78819128082" providerId="ADAL" clId="{CFFA14C4-1F20-45F0-A16B-155A83D4A48C}" dt="2024-12-04T18:24:36.693" v="1040"/>
          <ac:spMkLst>
            <pc:docMk/>
            <pc:sldMk cId="4175456837" sldId="2147473690"/>
            <ac:spMk id="22" creationId="{56F6D1B9-527D-037A-AFF6-210127DCC507}"/>
          </ac:spMkLst>
        </pc:spChg>
        <pc:spChg chg="add del mod ord">
          <ac:chgData name="Androleit, Sofia" userId="a235e272-1198-4b45-ad6e-d78819128082" providerId="ADAL" clId="{CFFA14C4-1F20-45F0-A16B-155A83D4A48C}" dt="2024-12-04T18:24:43.610" v="1115"/>
          <ac:spMkLst>
            <pc:docMk/>
            <pc:sldMk cId="4175456837" sldId="2147473690"/>
            <ac:spMk id="23" creationId="{6CF3713F-B563-2BA8-5390-3797EAF75BB5}"/>
          </ac:spMkLst>
        </pc:spChg>
        <pc:spChg chg="del">
          <ac:chgData name="Androleit, Sofia" userId="a235e272-1198-4b45-ad6e-d78819128082" providerId="ADAL" clId="{CFFA14C4-1F20-45F0-A16B-155A83D4A48C}" dt="2024-12-04T18:14:00.526" v="127"/>
          <ac:spMkLst>
            <pc:docMk/>
            <pc:sldMk cId="4175456837" sldId="2147473690"/>
            <ac:spMk id="24" creationId="{13F02558-E1A8-B34D-6B65-BAD70EB9AB24}"/>
          </ac:spMkLst>
        </pc:spChg>
        <pc:spChg chg="add mod ord">
          <ac:chgData name="Androleit, Sofia" userId="a235e272-1198-4b45-ad6e-d78819128082" providerId="ADAL" clId="{CFFA14C4-1F20-45F0-A16B-155A83D4A48C}" dt="2024-12-04T22:55:32.341" v="2125"/>
          <ac:spMkLst>
            <pc:docMk/>
            <pc:sldMk cId="4175456837" sldId="2147473690"/>
            <ac:spMk id="25" creationId="{A3571139-886A-F6DA-DCC3-94408E2D2A3B}"/>
          </ac:spMkLst>
        </pc:spChg>
        <pc:spChg chg="add del mod ord">
          <ac:chgData name="Androleit, Sofia" userId="a235e272-1198-4b45-ad6e-d78819128082" providerId="ADAL" clId="{CFFA14C4-1F20-45F0-A16B-155A83D4A48C}" dt="2024-12-04T18:24:49.294" v="1424"/>
          <ac:spMkLst>
            <pc:docMk/>
            <pc:sldMk cId="4175456837" sldId="2147473690"/>
            <ac:spMk id="26" creationId="{094403B0-ABAB-9E9E-4E78-EEE4BD75CA0A}"/>
          </ac:spMkLst>
        </pc:spChg>
        <pc:spChg chg="add del mod modVis">
          <ac:chgData name="Androleit, Sofia" userId="a235e272-1198-4b45-ad6e-d78819128082" providerId="ADAL" clId="{CFFA14C4-1F20-45F0-A16B-155A83D4A48C}" dt="2024-12-04T18:24:47.081" v="1395"/>
          <ac:spMkLst>
            <pc:docMk/>
            <pc:sldMk cId="4175456837" sldId="2147473690"/>
            <ac:spMk id="27" creationId="{C556CFCB-0BA2-2744-DB3F-44405E45C129}"/>
          </ac:spMkLst>
        </pc:spChg>
        <pc:spChg chg="add del mod ord">
          <ac:chgData name="Androleit, Sofia" userId="a235e272-1198-4b45-ad6e-d78819128082" providerId="ADAL" clId="{CFFA14C4-1F20-45F0-A16B-155A83D4A48C}" dt="2024-12-04T18:24:50.193" v="1503"/>
          <ac:spMkLst>
            <pc:docMk/>
            <pc:sldMk cId="4175456837" sldId="2147473690"/>
            <ac:spMk id="28" creationId="{2143B8A1-90A2-02DF-DD7C-4E8FA6F197D1}"/>
          </ac:spMkLst>
        </pc:spChg>
        <pc:spChg chg="add del mod ord">
          <ac:chgData name="Androleit, Sofia" userId="a235e272-1198-4b45-ad6e-d78819128082" providerId="ADAL" clId="{CFFA14C4-1F20-45F0-A16B-155A83D4A48C}" dt="2024-12-04T18:24:52.167" v="1584"/>
          <ac:spMkLst>
            <pc:docMk/>
            <pc:sldMk cId="4175456837" sldId="2147473690"/>
            <ac:spMk id="29" creationId="{4E93FA7A-2340-40F4-7B0C-E70F99D78F90}"/>
          </ac:spMkLst>
        </pc:spChg>
        <pc:spChg chg="add del mod ord">
          <ac:chgData name="Androleit, Sofia" userId="a235e272-1198-4b45-ad6e-d78819128082" providerId="ADAL" clId="{CFFA14C4-1F20-45F0-A16B-155A83D4A48C}" dt="2024-12-04T18:24:53.260" v="1664"/>
          <ac:spMkLst>
            <pc:docMk/>
            <pc:sldMk cId="4175456837" sldId="2147473690"/>
            <ac:spMk id="30" creationId="{D5CDD95B-7C29-7D2D-1387-103991672994}"/>
          </ac:spMkLst>
        </pc:spChg>
        <pc:spChg chg="add mod ord">
          <ac:chgData name="Androleit, Sofia" userId="a235e272-1198-4b45-ad6e-d78819128082" providerId="ADAL" clId="{CFFA14C4-1F20-45F0-A16B-155A83D4A48C}" dt="2024-12-04T22:55:32.341" v="2127"/>
          <ac:spMkLst>
            <pc:docMk/>
            <pc:sldMk cId="4175456837" sldId="2147473690"/>
            <ac:spMk id="31" creationId="{3A2ECFEE-F58E-E477-2F10-D3AF21E967FD}"/>
          </ac:spMkLst>
        </pc:spChg>
        <pc:spChg chg="del">
          <ac:chgData name="Androleit, Sofia" userId="a235e272-1198-4b45-ad6e-d78819128082" providerId="ADAL" clId="{CFFA14C4-1F20-45F0-A16B-155A83D4A48C}" dt="2024-12-04T18:14:00.526" v="133"/>
          <ac:spMkLst>
            <pc:docMk/>
            <pc:sldMk cId="4175456837" sldId="2147473690"/>
            <ac:spMk id="42" creationId="{D27D7E95-6483-2A62-D6BE-A6D5C5741D0C}"/>
          </ac:spMkLst>
        </pc:spChg>
        <pc:graphicFrameChg chg="mod">
          <ac:chgData name="Androleit, Sofia" userId="a235e272-1198-4b45-ad6e-d78819128082" providerId="ADAL" clId="{CFFA14C4-1F20-45F0-A16B-155A83D4A48C}" dt="2024-12-04T22:55:32.361" v="2150"/>
          <ac:graphicFrameMkLst>
            <pc:docMk/>
            <pc:sldMk cId="4175456837" sldId="2147473690"/>
            <ac:graphicFrameMk id="6" creationId="{56028E92-FE70-7F3A-1143-B30D5BE90A20}"/>
          </ac:graphicFrameMkLst>
        </pc:graphicFrameChg>
      </pc:sldChg>
      <pc:sldChg chg="del">
        <pc:chgData name="Androleit, Sofia" userId="a235e272-1198-4b45-ad6e-d78819128082" providerId="ADAL" clId="{CFFA14C4-1F20-45F0-A16B-155A83D4A48C}" dt="2024-12-04T18:13:59.977" v="123" actId="2696"/>
        <pc:sldMkLst>
          <pc:docMk/>
          <pc:sldMk cId="626306548" sldId="2147473691"/>
        </pc:sldMkLst>
      </pc:sldChg>
      <pc:sldChg chg="new del">
        <pc:chgData name="Androleit, Sofia" userId="a235e272-1198-4b45-ad6e-d78819128082" providerId="ADAL" clId="{CFFA14C4-1F20-45F0-A16B-155A83D4A48C}" dt="2024-12-04T18:26:27.021" v="1853" actId="2696"/>
        <pc:sldMkLst>
          <pc:docMk/>
          <pc:sldMk cId="3530360537" sldId="2147473691"/>
        </pc:sldMkLst>
      </pc:sldChg>
      <pc:sldChg chg="del">
        <pc:chgData name="Androleit, Sofia" userId="a235e272-1198-4b45-ad6e-d78819128082" providerId="ADAL" clId="{CFFA14C4-1F20-45F0-A16B-155A83D4A48C}" dt="2024-12-04T18:13:59.977" v="123" actId="2696"/>
        <pc:sldMkLst>
          <pc:docMk/>
          <pc:sldMk cId="1537904998" sldId="2147473693"/>
        </pc:sldMkLst>
      </pc:sldChg>
      <pc:sldChg chg="add del">
        <pc:chgData name="Androleit, Sofia" userId="a235e272-1198-4b45-ad6e-d78819128082" providerId="ADAL" clId="{CFFA14C4-1F20-45F0-A16B-155A83D4A48C}" dt="2024-12-04T22:55:28.013" v="1854" actId="2696"/>
        <pc:sldMkLst>
          <pc:docMk/>
          <pc:sldMk cId="3179912720" sldId="2147473730"/>
        </pc:sldMkLst>
      </pc:sldChg>
      <pc:sldChg chg="add del">
        <pc:chgData name="Androleit, Sofia" userId="a235e272-1198-4b45-ad6e-d78819128082" providerId="ADAL" clId="{CFFA14C4-1F20-45F0-A16B-155A83D4A48C}" dt="2024-12-04T22:55:28.013" v="1854" actId="2696"/>
        <pc:sldMkLst>
          <pc:docMk/>
          <pc:sldMk cId="0" sldId="2147473863"/>
        </pc:sldMkLst>
      </pc:sldChg>
      <pc:sldChg chg="add del">
        <pc:chgData name="Androleit, Sofia" userId="a235e272-1198-4b45-ad6e-d78819128082" providerId="ADAL" clId="{CFFA14C4-1F20-45F0-A16B-155A83D4A48C}" dt="2024-12-06T14:32:11.485" v="2172" actId="47"/>
        <pc:sldMkLst>
          <pc:docMk/>
          <pc:sldMk cId="87942749" sldId="2147473939"/>
        </pc:sldMkLst>
      </pc:sldChg>
      <pc:sldChg chg="add del">
        <pc:chgData name="Androleit, Sofia" userId="a235e272-1198-4b45-ad6e-d78819128082" providerId="ADAL" clId="{CFFA14C4-1F20-45F0-A16B-155A83D4A48C}" dt="2024-12-04T22:55:28.013" v="1854" actId="2696"/>
        <pc:sldMkLst>
          <pc:docMk/>
          <pc:sldMk cId="3973594572" sldId="2147473957"/>
        </pc:sldMkLst>
      </pc:sldChg>
      <pc:sldChg chg="addSp delSp modSp add del mod ord modTransition">
        <pc:chgData name="Androleit, Sofia" userId="a235e272-1198-4b45-ad6e-d78819128082" providerId="ADAL" clId="{CFFA14C4-1F20-45F0-A16B-155A83D4A48C}" dt="2024-12-04T22:55:31.665" v="2071" actId="2696"/>
        <pc:sldMkLst>
          <pc:docMk/>
          <pc:sldMk cId="360456041" sldId="2147473974"/>
        </pc:sldMkLst>
        <pc:spChg chg="mod ord">
          <ac:chgData name="Androleit, Sofia" userId="a235e272-1198-4b45-ad6e-d78819128082" providerId="ADAL" clId="{CFFA14C4-1F20-45F0-A16B-155A83D4A48C}" dt="2024-12-04T22:55:30.148" v="2032"/>
          <ac:spMkLst>
            <pc:docMk/>
            <pc:sldMk cId="360456041" sldId="2147473974"/>
            <ac:spMk id="2" creationId="{419A0FBB-9F69-06E6-7FB9-876FE6695F32}"/>
          </ac:spMkLst>
        </pc:spChg>
        <pc:spChg chg="mod ord">
          <ac:chgData name="Androleit, Sofia" userId="a235e272-1198-4b45-ad6e-d78819128082" providerId="ADAL" clId="{CFFA14C4-1F20-45F0-A16B-155A83D4A48C}" dt="2024-12-04T22:55:30.162" v="2034"/>
          <ac:spMkLst>
            <pc:docMk/>
            <pc:sldMk cId="360456041" sldId="2147473974"/>
            <ac:spMk id="3" creationId="{DE5862B4-95A9-EBF7-A0A0-D186060D49A4}"/>
          </ac:spMkLst>
        </pc:spChg>
        <pc:spChg chg="add del mod modVis">
          <ac:chgData name="Androleit, Sofia" userId="a235e272-1198-4b45-ad6e-d78819128082" providerId="ADAL" clId="{CFFA14C4-1F20-45F0-A16B-155A83D4A48C}" dt="2024-12-04T18:24:00.885" v="469"/>
          <ac:spMkLst>
            <pc:docMk/>
            <pc:sldMk cId="360456041" sldId="2147473974"/>
            <ac:spMk id="4" creationId="{32D7D5DC-940D-26DD-D501-4AC1452CA3EA}"/>
          </ac:spMkLst>
        </pc:spChg>
        <pc:spChg chg="add del mod modVis">
          <ac:chgData name="Androleit, Sofia" userId="a235e272-1198-4b45-ad6e-d78819128082" providerId="ADAL" clId="{CFFA14C4-1F20-45F0-A16B-155A83D4A48C}" dt="2024-12-04T22:55:30.173" v="2056"/>
          <ac:spMkLst>
            <pc:docMk/>
            <pc:sldMk cId="360456041" sldId="2147473974"/>
            <ac:spMk id="4" creationId="{66D968DD-FA46-46A8-CF31-A8416FD83364}"/>
          </ac:spMkLst>
        </pc:spChg>
        <pc:spChg chg="add del mod ord">
          <ac:chgData name="Androleit, Sofia" userId="a235e272-1198-4b45-ad6e-d78819128082" providerId="ADAL" clId="{CFFA14C4-1F20-45F0-A16B-155A83D4A48C}" dt="2024-12-04T18:24:07.576" v="478"/>
          <ac:spMkLst>
            <pc:docMk/>
            <pc:sldMk cId="360456041" sldId="2147473974"/>
            <ac:spMk id="5" creationId="{C5FE7AB6-DD66-5F61-C6B7-4858312FDB05}"/>
          </ac:spMkLst>
        </pc:spChg>
        <pc:spChg chg="add del mod ord">
          <ac:chgData name="Androleit, Sofia" userId="a235e272-1198-4b45-ad6e-d78819128082" providerId="ADAL" clId="{CFFA14C4-1F20-45F0-A16B-155A83D4A48C}" dt="2024-12-04T18:24:13.652" v="557"/>
          <ac:spMkLst>
            <pc:docMk/>
            <pc:sldMk cId="360456041" sldId="2147473974"/>
            <ac:spMk id="7" creationId="{ABFF6A85-BC94-864A-9E4B-D8B0F4297E39}"/>
          </ac:spMkLst>
        </pc:spChg>
        <pc:spChg chg="add mod ord">
          <ac:chgData name="Androleit, Sofia" userId="a235e272-1198-4b45-ad6e-d78819128082" providerId="ADAL" clId="{CFFA14C4-1F20-45F0-A16B-155A83D4A48C}" dt="2024-12-04T22:55:30.163" v="2038"/>
          <ac:spMkLst>
            <pc:docMk/>
            <pc:sldMk cId="360456041" sldId="2147473974"/>
            <ac:spMk id="8" creationId="{FD91DD29-9F69-54FA-A235-B5442AEF0462}"/>
          </ac:spMkLst>
        </pc:spChg>
        <pc:spChg chg="add del mod modVis">
          <ac:chgData name="Androleit, Sofia" userId="a235e272-1198-4b45-ad6e-d78819128082" providerId="ADAL" clId="{CFFA14C4-1F20-45F0-A16B-155A83D4A48C}" dt="2024-12-04T18:24:13.716" v="599"/>
          <ac:spMkLst>
            <pc:docMk/>
            <pc:sldMk cId="360456041" sldId="2147473974"/>
            <ac:spMk id="9" creationId="{DD34018D-2942-413A-0B64-2A759AD3A0CA}"/>
          </ac:spMkLst>
        </pc:spChg>
        <pc:spChg chg="add del mod modVis">
          <ac:chgData name="Androleit, Sofia" userId="a235e272-1198-4b45-ad6e-d78819128082" providerId="ADAL" clId="{CFFA14C4-1F20-45F0-A16B-155A83D4A48C}" dt="2024-12-04T18:24:28.964" v="706"/>
          <ac:spMkLst>
            <pc:docMk/>
            <pc:sldMk cId="360456041" sldId="2147473974"/>
            <ac:spMk id="10" creationId="{2B8DFED8-6D9B-2CC9-9130-0F35A059874B}"/>
          </ac:spMkLst>
        </pc:spChg>
        <pc:spChg chg="add del mod modVis">
          <ac:chgData name="Androleit, Sofia" userId="a235e272-1198-4b45-ad6e-d78819128082" providerId="ADAL" clId="{CFFA14C4-1F20-45F0-A16B-155A83D4A48C}" dt="2024-12-04T18:24:31.478" v="786"/>
          <ac:spMkLst>
            <pc:docMk/>
            <pc:sldMk cId="360456041" sldId="2147473974"/>
            <ac:spMk id="11" creationId="{6B6EF211-9CF7-D261-D746-790D0F140886}"/>
          </ac:spMkLst>
        </pc:spChg>
        <pc:spChg chg="add del mod modVis">
          <ac:chgData name="Androleit, Sofia" userId="a235e272-1198-4b45-ad6e-d78819128082" providerId="ADAL" clId="{CFFA14C4-1F20-45F0-A16B-155A83D4A48C}" dt="2024-12-04T18:24:34.412" v="867"/>
          <ac:spMkLst>
            <pc:docMk/>
            <pc:sldMk cId="360456041" sldId="2147473974"/>
            <ac:spMk id="12" creationId="{CE52DE11-DFD7-A570-152C-F2DD787D5D52}"/>
          </ac:spMkLst>
        </pc:spChg>
        <pc:spChg chg="add mod ord">
          <ac:chgData name="Androleit, Sofia" userId="a235e272-1198-4b45-ad6e-d78819128082" providerId="ADAL" clId="{CFFA14C4-1F20-45F0-A16B-155A83D4A48C}" dt="2024-12-04T22:55:30.164" v="2040"/>
          <ac:spMkLst>
            <pc:docMk/>
            <pc:sldMk cId="360456041" sldId="2147473974"/>
            <ac:spMk id="13" creationId="{F4DF4A1F-B0ED-B79E-70B5-08EB92A7AAC6}"/>
          </ac:spMkLst>
        </pc:spChg>
        <pc:spChg chg="add del mod modVis">
          <ac:chgData name="Androleit, Sofia" userId="a235e272-1198-4b45-ad6e-d78819128082" providerId="ADAL" clId="{CFFA14C4-1F20-45F0-A16B-155A83D4A48C}" dt="2024-12-04T18:24:36.693" v="1044"/>
          <ac:spMkLst>
            <pc:docMk/>
            <pc:sldMk cId="360456041" sldId="2147473974"/>
            <ac:spMk id="14" creationId="{C96CC909-0192-6890-B7CA-BC16B5571D96}"/>
          </ac:spMkLst>
        </pc:spChg>
        <pc:spChg chg="add mod ord">
          <ac:chgData name="Androleit, Sofia" userId="a235e272-1198-4b45-ad6e-d78819128082" providerId="ADAL" clId="{CFFA14C4-1F20-45F0-A16B-155A83D4A48C}" dt="2024-12-04T22:55:30.164" v="2042"/>
          <ac:spMkLst>
            <pc:docMk/>
            <pc:sldMk cId="360456041" sldId="2147473974"/>
            <ac:spMk id="15" creationId="{9C3AC21C-2927-91E8-685E-E91EC6AD836D}"/>
          </ac:spMkLst>
        </pc:spChg>
        <pc:spChg chg="add del mod modVis">
          <ac:chgData name="Androleit, Sofia" userId="a235e272-1198-4b45-ad6e-d78819128082" providerId="ADAL" clId="{CFFA14C4-1F20-45F0-A16B-155A83D4A48C}" dt="2024-12-04T18:24:47.081" v="1399"/>
          <ac:spMkLst>
            <pc:docMk/>
            <pc:sldMk cId="360456041" sldId="2147473974"/>
            <ac:spMk id="16" creationId="{7F115A27-492A-24BF-7EDF-0CD7D65B7610}"/>
          </ac:spMkLst>
        </pc:spChg>
        <pc:spChg chg="mod ord">
          <ac:chgData name="Androleit, Sofia" userId="a235e272-1198-4b45-ad6e-d78819128082" providerId="ADAL" clId="{CFFA14C4-1F20-45F0-A16B-155A83D4A48C}" dt="2024-12-04T22:55:30.163" v="2036"/>
          <ac:spMkLst>
            <pc:docMk/>
            <pc:sldMk cId="360456041" sldId="2147473974"/>
            <ac:spMk id="21" creationId="{D8D1A18E-A0DF-23DA-ADF7-4654EA917E83}"/>
          </ac:spMkLst>
        </pc:spChg>
        <pc:graphicFrameChg chg="mod">
          <ac:chgData name="Androleit, Sofia" userId="a235e272-1198-4b45-ad6e-d78819128082" providerId="ADAL" clId="{CFFA14C4-1F20-45F0-A16B-155A83D4A48C}" dt="2024-12-04T22:55:30.181" v="2058"/>
          <ac:graphicFrameMkLst>
            <pc:docMk/>
            <pc:sldMk cId="360456041" sldId="2147473974"/>
            <ac:graphicFrameMk id="6" creationId="{56028E92-FE70-7F3A-1143-B30D5BE90A20}"/>
          </ac:graphicFrameMkLst>
        </pc:graphicFrameChg>
      </pc:sldChg>
      <pc:sldChg chg="del">
        <pc:chgData name="Androleit, Sofia" userId="a235e272-1198-4b45-ad6e-d78819128082" providerId="ADAL" clId="{CFFA14C4-1F20-45F0-A16B-155A83D4A48C}" dt="2024-12-04T18:13:59.977" v="123" actId="2696"/>
        <pc:sldMkLst>
          <pc:docMk/>
          <pc:sldMk cId="2804903587" sldId="2147473974"/>
        </pc:sldMkLst>
      </pc:sldChg>
      <pc:sldChg chg="addSp delSp modSp add del mod ord modTransition">
        <pc:chgData name="Androleit, Sofia" userId="a235e272-1198-4b45-ad6e-d78819128082" providerId="ADAL" clId="{CFFA14C4-1F20-45F0-A16B-155A83D4A48C}" dt="2024-12-06T14:32:17.629" v="2266" actId="47"/>
        <pc:sldMkLst>
          <pc:docMk/>
          <pc:sldMk cId="210758954" sldId="2147473975"/>
        </pc:sldMkLst>
        <pc:spChg chg="mod ord">
          <ac:chgData name="Androleit, Sofia" userId="a235e272-1198-4b45-ad6e-d78819128082" providerId="ADAL" clId="{CFFA14C4-1F20-45F0-A16B-155A83D4A48C}" dt="2024-12-06T14:32:16.557" v="2235"/>
          <ac:spMkLst>
            <pc:docMk/>
            <pc:sldMk cId="210758954" sldId="2147473975"/>
            <ac:spMk id="2" creationId="{419A0FBB-9F69-06E6-7FB9-876FE6695F32}"/>
          </ac:spMkLst>
        </pc:spChg>
        <pc:spChg chg="mod ord">
          <ac:chgData name="Androleit, Sofia" userId="a235e272-1198-4b45-ad6e-d78819128082" providerId="ADAL" clId="{CFFA14C4-1F20-45F0-A16B-155A83D4A48C}" dt="2024-12-06T14:32:16.558" v="2237"/>
          <ac:spMkLst>
            <pc:docMk/>
            <pc:sldMk cId="210758954" sldId="2147473975"/>
            <ac:spMk id="3" creationId="{DE5862B4-95A9-EBF7-A0A0-D186060D49A4}"/>
          </ac:spMkLst>
        </pc:spChg>
        <pc:spChg chg="add del mod modVis">
          <ac:chgData name="Androleit, Sofia" userId="a235e272-1198-4b45-ad6e-d78819128082" providerId="ADAL" clId="{CFFA14C4-1F20-45F0-A16B-155A83D4A48C}" dt="2024-12-04T18:24:36.705" v="1048"/>
          <ac:spMkLst>
            <pc:docMk/>
            <pc:sldMk cId="210758954" sldId="2147473975"/>
            <ac:spMk id="4" creationId="{30CADA5C-D3A7-1A6C-4C57-96AA76BFADF3}"/>
          </ac:spMkLst>
        </pc:spChg>
        <pc:spChg chg="add del mod modVis">
          <ac:chgData name="Androleit, Sofia" userId="a235e272-1198-4b45-ad6e-d78819128082" providerId="ADAL" clId="{CFFA14C4-1F20-45F0-A16B-155A83D4A48C}" dt="2024-12-04T22:55:30.195" v="2068"/>
          <ac:spMkLst>
            <pc:docMk/>
            <pc:sldMk cId="210758954" sldId="2147473975"/>
            <ac:spMk id="4" creationId="{5E291B33-BC95-7521-AE57-537CD1FE58D2}"/>
          </ac:spMkLst>
        </pc:spChg>
        <pc:spChg chg="add del mod modVis">
          <ac:chgData name="Androleit, Sofia" userId="a235e272-1198-4b45-ad6e-d78819128082" providerId="ADAL" clId="{CFFA14C4-1F20-45F0-A16B-155A83D4A48C}" dt="2024-12-06T14:32:16.570" v="2259"/>
          <ac:spMkLst>
            <pc:docMk/>
            <pc:sldMk cId="210758954" sldId="2147473975"/>
            <ac:spMk id="4" creationId="{C585064D-1E67-B701-8D19-4B90B68152F5}"/>
          </ac:spMkLst>
        </pc:spChg>
        <pc:spChg chg="add del mod ord">
          <ac:chgData name="Androleit, Sofia" userId="a235e272-1198-4b45-ad6e-d78819128082" providerId="ADAL" clId="{CFFA14C4-1F20-45F0-A16B-155A83D4A48C}" dt="2024-12-04T18:24:40.244" v="1061"/>
          <ac:spMkLst>
            <pc:docMk/>
            <pc:sldMk cId="210758954" sldId="2147473975"/>
            <ac:spMk id="5" creationId="{3D40DF15-E6BA-F6E9-1203-5674F2B9A5B1}"/>
          </ac:spMkLst>
        </pc:spChg>
        <pc:spChg chg="add del mod ord">
          <ac:chgData name="Androleit, Sofia" userId="a235e272-1198-4b45-ad6e-d78819128082" providerId="ADAL" clId="{CFFA14C4-1F20-45F0-A16B-155A83D4A48C}" dt="2024-12-04T18:24:43.635" v="1121"/>
          <ac:spMkLst>
            <pc:docMk/>
            <pc:sldMk cId="210758954" sldId="2147473975"/>
            <ac:spMk id="7" creationId="{A34C89AF-282F-95AF-FA22-16E8F7602C12}"/>
          </ac:spMkLst>
        </pc:spChg>
        <pc:spChg chg="del mod ord">
          <ac:chgData name="Androleit, Sofia" userId="a235e272-1198-4b45-ad6e-d78819128082" providerId="ADAL" clId="{CFFA14C4-1F20-45F0-A16B-155A83D4A48C}" dt="2024-12-04T22:55:32.292" v="2086"/>
          <ac:spMkLst>
            <pc:docMk/>
            <pc:sldMk cId="210758954" sldId="2147473975"/>
            <ac:spMk id="8" creationId="{FD91DD29-9F69-54FA-A235-B5442AEF0462}"/>
          </ac:spMkLst>
        </pc:spChg>
        <pc:spChg chg="add mod ord">
          <ac:chgData name="Androleit, Sofia" userId="a235e272-1198-4b45-ad6e-d78819128082" providerId="ADAL" clId="{CFFA14C4-1F20-45F0-A16B-155A83D4A48C}" dt="2024-12-06T14:32:16.559" v="2239"/>
          <ac:spMkLst>
            <pc:docMk/>
            <pc:sldMk cId="210758954" sldId="2147473975"/>
            <ac:spMk id="9" creationId="{705C244D-45D5-D33B-DF81-8D24363E713B}"/>
          </ac:spMkLst>
        </pc:spChg>
        <pc:spChg chg="add del mod ord">
          <ac:chgData name="Androleit, Sofia" userId="a235e272-1198-4b45-ad6e-d78819128082" providerId="ADAL" clId="{CFFA14C4-1F20-45F0-A16B-155A83D4A48C}" dt="2024-12-04T18:24:49.317" v="1431"/>
          <ac:spMkLst>
            <pc:docMk/>
            <pc:sldMk cId="210758954" sldId="2147473975"/>
            <ac:spMk id="10" creationId="{4EBEAAA2-6F5D-9E62-C765-557490408048}"/>
          </ac:spMkLst>
        </pc:spChg>
        <pc:spChg chg="add del mod modVis">
          <ac:chgData name="Androleit, Sofia" userId="a235e272-1198-4b45-ad6e-d78819128082" providerId="ADAL" clId="{CFFA14C4-1F20-45F0-A16B-155A83D4A48C}" dt="2024-12-04T18:24:47.093" v="1407"/>
          <ac:spMkLst>
            <pc:docMk/>
            <pc:sldMk cId="210758954" sldId="2147473975"/>
            <ac:spMk id="11" creationId="{6C7652C8-0F5C-B405-1E80-D868BC801B38}"/>
          </ac:spMkLst>
        </pc:spChg>
        <pc:spChg chg="add del mod ord">
          <ac:chgData name="Androleit, Sofia" userId="a235e272-1198-4b45-ad6e-d78819128082" providerId="ADAL" clId="{CFFA14C4-1F20-45F0-A16B-155A83D4A48C}" dt="2024-12-04T18:24:50.223" v="1510"/>
          <ac:spMkLst>
            <pc:docMk/>
            <pc:sldMk cId="210758954" sldId="2147473975"/>
            <ac:spMk id="12" creationId="{9C0FAA52-C003-0D51-EFE8-2B059D5D5C4F}"/>
          </ac:spMkLst>
        </pc:spChg>
        <pc:spChg chg="add del mod ord">
          <ac:chgData name="Androleit, Sofia" userId="a235e272-1198-4b45-ad6e-d78819128082" providerId="ADAL" clId="{CFFA14C4-1F20-45F0-A16B-155A83D4A48C}" dt="2024-12-04T18:24:52.193" v="1591"/>
          <ac:spMkLst>
            <pc:docMk/>
            <pc:sldMk cId="210758954" sldId="2147473975"/>
            <ac:spMk id="13" creationId="{DA29B634-5A3A-F19D-28FD-973E5AB0AA41}"/>
          </ac:spMkLst>
        </pc:spChg>
        <pc:spChg chg="add del mod ord">
          <ac:chgData name="Androleit, Sofia" userId="a235e272-1198-4b45-ad6e-d78819128082" providerId="ADAL" clId="{CFFA14C4-1F20-45F0-A16B-155A83D4A48C}" dt="2024-12-04T18:24:53.281" v="1671"/>
          <ac:spMkLst>
            <pc:docMk/>
            <pc:sldMk cId="210758954" sldId="2147473975"/>
            <ac:spMk id="14" creationId="{E6BA667B-2873-871D-E182-B133E642E322}"/>
          </ac:spMkLst>
        </pc:spChg>
        <pc:spChg chg="add mod ord">
          <ac:chgData name="Androleit, Sofia" userId="a235e272-1198-4b45-ad6e-d78819128082" providerId="ADAL" clId="{CFFA14C4-1F20-45F0-A16B-155A83D4A48C}" dt="2024-12-06T14:32:16.560" v="2241"/>
          <ac:spMkLst>
            <pc:docMk/>
            <pc:sldMk cId="210758954" sldId="2147473975"/>
            <ac:spMk id="15" creationId="{DB63C582-4EBC-E5A0-E754-2E1B3E38D136}"/>
          </ac:spMkLst>
        </pc:spChg>
        <pc:spChg chg="del mod ord">
          <ac:chgData name="Androleit, Sofia" userId="a235e272-1198-4b45-ad6e-d78819128082" providerId="ADAL" clId="{CFFA14C4-1F20-45F0-A16B-155A83D4A48C}" dt="2024-12-06T14:32:16.450" v="2183"/>
          <ac:spMkLst>
            <pc:docMk/>
            <pc:sldMk cId="210758954" sldId="2147473975"/>
            <ac:spMk id="21" creationId="{D8D1A18E-A0DF-23DA-ADF7-4654EA917E83}"/>
          </ac:spMkLst>
        </pc:spChg>
        <pc:graphicFrameChg chg="mod">
          <ac:chgData name="Androleit, Sofia" userId="a235e272-1198-4b45-ad6e-d78819128082" providerId="ADAL" clId="{CFFA14C4-1F20-45F0-A16B-155A83D4A48C}" dt="2024-12-06T14:32:16.572" v="2261"/>
          <ac:graphicFrameMkLst>
            <pc:docMk/>
            <pc:sldMk cId="210758954" sldId="2147473975"/>
            <ac:graphicFrameMk id="6" creationId="{56028E92-FE70-7F3A-1143-B30D5BE90A20}"/>
          </ac:graphicFrameMkLst>
        </pc:graphicFrameChg>
      </pc:sldChg>
      <pc:sldChg chg="del">
        <pc:chgData name="Androleit, Sofia" userId="a235e272-1198-4b45-ad6e-d78819128082" providerId="ADAL" clId="{CFFA14C4-1F20-45F0-A16B-155A83D4A48C}" dt="2024-12-04T18:13:59.977" v="123" actId="2696"/>
        <pc:sldMkLst>
          <pc:docMk/>
          <pc:sldMk cId="1338675953" sldId="2147473976"/>
        </pc:sldMkLst>
      </pc:sldChg>
      <pc:sldChg chg="addSp delSp modSp add del mod ord modTransition">
        <pc:chgData name="Androleit, Sofia" userId="a235e272-1198-4b45-ad6e-d78819128082" providerId="ADAL" clId="{CFFA14C4-1F20-45F0-A16B-155A83D4A48C}" dt="2024-12-06T14:32:19.746" v="2283" actId="47"/>
        <pc:sldMkLst>
          <pc:docMk/>
          <pc:sldMk cId="3155520090" sldId="2147473976"/>
        </pc:sldMkLst>
        <pc:spChg chg="mod ord">
          <ac:chgData name="Androleit, Sofia" userId="a235e272-1198-4b45-ad6e-d78819128082" providerId="ADAL" clId="{CFFA14C4-1F20-45F0-A16B-155A83D4A48C}" dt="2024-12-06T14:32:18.175" v="2276"/>
          <ac:spMkLst>
            <pc:docMk/>
            <pc:sldMk cId="3155520090" sldId="2147473976"/>
            <ac:spMk id="2" creationId="{419A0FBB-9F69-06E6-7FB9-876FE6695F32}"/>
          </ac:spMkLst>
        </pc:spChg>
        <pc:spChg chg="mod ord">
          <ac:chgData name="Androleit, Sofia" userId="a235e272-1198-4b45-ad6e-d78819128082" providerId="ADAL" clId="{CFFA14C4-1F20-45F0-A16B-155A83D4A48C}" dt="2024-12-06T14:32:18.176" v="2278"/>
          <ac:spMkLst>
            <pc:docMk/>
            <pc:sldMk cId="3155520090" sldId="2147473976"/>
            <ac:spMk id="3" creationId="{DE5862B4-95A9-EBF7-A0A0-D186060D49A4}"/>
          </ac:spMkLst>
        </pc:spChg>
        <pc:spChg chg="add del mod modVis">
          <ac:chgData name="Androleit, Sofia" userId="a235e272-1198-4b45-ad6e-d78819128082" providerId="ADAL" clId="{CFFA14C4-1F20-45F0-A16B-155A83D4A48C}" dt="2024-12-06T14:32:16.575" v="2263"/>
          <ac:spMkLst>
            <pc:docMk/>
            <pc:sldMk cId="3155520090" sldId="2147473976"/>
            <ac:spMk id="4" creationId="{90651334-C0FD-F59E-6617-A7DEA0F4E6B8}"/>
          </ac:spMkLst>
        </pc:spChg>
        <pc:spChg chg="add del mod modVis">
          <ac:chgData name="Androleit, Sofia" userId="a235e272-1198-4b45-ad6e-d78819128082" providerId="ADAL" clId="{CFFA14C4-1F20-45F0-A16B-155A83D4A48C}" dt="2024-12-04T22:55:30.185" v="2060"/>
          <ac:spMkLst>
            <pc:docMk/>
            <pc:sldMk cId="3155520090" sldId="2147473976"/>
            <ac:spMk id="4" creationId="{A3BDB63A-3E37-B603-E083-F107C05D24A2}"/>
          </ac:spMkLst>
        </pc:spChg>
        <pc:spChg chg="add del mod modVis">
          <ac:chgData name="Androleit, Sofia" userId="a235e272-1198-4b45-ad6e-d78819128082" providerId="ADAL" clId="{CFFA14C4-1F20-45F0-A16B-155A83D4A48C}" dt="2024-12-04T18:24:47.092" v="1403"/>
          <ac:spMkLst>
            <pc:docMk/>
            <pc:sldMk cId="3155520090" sldId="2147473976"/>
            <ac:spMk id="4" creationId="{BD8349C3-CD68-ABB3-9CDB-6781BCE85963}"/>
          </ac:spMkLst>
        </pc:spChg>
        <pc:spChg chg="add del mod ord">
          <ac:chgData name="Androleit, Sofia" userId="a235e272-1198-4b45-ad6e-d78819128082" providerId="ADAL" clId="{CFFA14C4-1F20-45F0-A16B-155A83D4A48C}" dt="2024-12-04T18:24:49.260" v="1415"/>
          <ac:spMkLst>
            <pc:docMk/>
            <pc:sldMk cId="3155520090" sldId="2147473976"/>
            <ac:spMk id="5" creationId="{7117CE00-742D-03CE-E672-5A69B728D6C0}"/>
          </ac:spMkLst>
        </pc:spChg>
        <pc:spChg chg="add del mod ord">
          <ac:chgData name="Androleit, Sofia" userId="a235e272-1198-4b45-ad6e-d78819128082" providerId="ADAL" clId="{CFFA14C4-1F20-45F0-A16B-155A83D4A48C}" dt="2024-12-04T18:24:50.144" v="1494"/>
          <ac:spMkLst>
            <pc:docMk/>
            <pc:sldMk cId="3155520090" sldId="2147473976"/>
            <ac:spMk id="7" creationId="{AF6CFE96-13D3-531D-B437-D800DEFB6C14}"/>
          </ac:spMkLst>
        </pc:spChg>
        <pc:spChg chg="del mod ord">
          <ac:chgData name="Androleit, Sofia" userId="a235e272-1198-4b45-ad6e-d78819128082" providerId="ADAL" clId="{CFFA14C4-1F20-45F0-A16B-155A83D4A48C}" dt="2024-12-04T22:55:32.282" v="2082"/>
          <ac:spMkLst>
            <pc:docMk/>
            <pc:sldMk cId="3155520090" sldId="2147473976"/>
            <ac:spMk id="8" creationId="{FD91DD29-9F69-54FA-A235-B5442AEF0462}"/>
          </ac:spMkLst>
        </pc:spChg>
        <pc:spChg chg="del mod ord">
          <ac:chgData name="Androleit, Sofia" userId="a235e272-1198-4b45-ad6e-d78819128082" providerId="ADAL" clId="{CFFA14C4-1F20-45F0-A16B-155A83D4A48C}" dt="2024-12-06T14:32:18.161" v="2269"/>
          <ac:spMkLst>
            <pc:docMk/>
            <pc:sldMk cId="3155520090" sldId="2147473976"/>
            <ac:spMk id="9" creationId="{705C244D-45D5-D33B-DF81-8D24363E713B}"/>
          </ac:spMkLst>
        </pc:spChg>
        <pc:spChg chg="add del mod ord">
          <ac:chgData name="Androleit, Sofia" userId="a235e272-1198-4b45-ad6e-d78819128082" providerId="ADAL" clId="{CFFA14C4-1F20-45F0-A16B-155A83D4A48C}" dt="2024-12-04T18:24:52.119" v="1575"/>
          <ac:spMkLst>
            <pc:docMk/>
            <pc:sldMk cId="3155520090" sldId="2147473976"/>
            <ac:spMk id="10" creationId="{92BDE4F4-616A-19A3-CAB5-013B1E9A8F56}"/>
          </ac:spMkLst>
        </pc:spChg>
        <pc:spChg chg="add del mod ord">
          <ac:chgData name="Androleit, Sofia" userId="a235e272-1198-4b45-ad6e-d78819128082" providerId="ADAL" clId="{CFFA14C4-1F20-45F0-A16B-155A83D4A48C}" dt="2024-12-04T18:24:53.227" v="1655"/>
          <ac:spMkLst>
            <pc:docMk/>
            <pc:sldMk cId="3155520090" sldId="2147473976"/>
            <ac:spMk id="11" creationId="{C48199EB-9345-EC72-5B1C-001EC6350717}"/>
          </ac:spMkLst>
        </pc:spChg>
        <pc:spChg chg="add mod ord">
          <ac:chgData name="Androleit, Sofia" userId="a235e272-1198-4b45-ad6e-d78819128082" providerId="ADAL" clId="{CFFA14C4-1F20-45F0-A16B-155A83D4A48C}" dt="2024-12-06T14:32:18.179" v="2280"/>
          <ac:spMkLst>
            <pc:docMk/>
            <pc:sldMk cId="3155520090" sldId="2147473976"/>
            <ac:spMk id="12" creationId="{22408854-E118-6D7C-C0AE-4CEF7A9C64FA}"/>
          </ac:spMkLst>
        </pc:spChg>
        <pc:spChg chg="del mod ord">
          <ac:chgData name="Androleit, Sofia" userId="a235e272-1198-4b45-ad6e-d78819128082" providerId="ADAL" clId="{CFFA14C4-1F20-45F0-A16B-155A83D4A48C}" dt="2024-12-06T14:32:16.453" v="2185"/>
          <ac:spMkLst>
            <pc:docMk/>
            <pc:sldMk cId="3155520090" sldId="2147473976"/>
            <ac:spMk id="21" creationId="{D8D1A18E-A0DF-23DA-ADF7-4654EA917E83}"/>
          </ac:spMkLst>
        </pc:spChg>
        <pc:graphicFrameChg chg="mod">
          <ac:chgData name="Androleit, Sofia" userId="a235e272-1198-4b45-ad6e-d78819128082" providerId="ADAL" clId="{CFFA14C4-1F20-45F0-A16B-155A83D4A48C}" dt="2024-12-06T14:32:18.181" v="2282"/>
          <ac:graphicFrameMkLst>
            <pc:docMk/>
            <pc:sldMk cId="3155520090" sldId="2147473976"/>
            <ac:graphicFrameMk id="6" creationId="{56028E92-FE70-7F3A-1143-B30D5BE90A20}"/>
          </ac:graphicFrameMkLst>
        </pc:graphicFrameChg>
      </pc:sldChg>
      <pc:sldChg chg="del">
        <pc:chgData name="Androleit, Sofia" userId="a235e272-1198-4b45-ad6e-d78819128082" providerId="ADAL" clId="{CFFA14C4-1F20-45F0-A16B-155A83D4A48C}" dt="2024-12-04T18:13:59.977" v="123" actId="2696"/>
        <pc:sldMkLst>
          <pc:docMk/>
          <pc:sldMk cId="2179825808" sldId="2147473988"/>
        </pc:sldMkLst>
      </pc:sldChg>
      <pc:sldChg chg="del">
        <pc:chgData name="Androleit, Sofia" userId="a235e272-1198-4b45-ad6e-d78819128082" providerId="ADAL" clId="{CFFA14C4-1F20-45F0-A16B-155A83D4A48C}" dt="2024-12-04T18:13:59.977" v="123" actId="2696"/>
        <pc:sldMkLst>
          <pc:docMk/>
          <pc:sldMk cId="552442821" sldId="2147473990"/>
        </pc:sldMkLst>
      </pc:sldChg>
      <pc:sldChg chg="del">
        <pc:chgData name="Androleit, Sofia" userId="a235e272-1198-4b45-ad6e-d78819128082" providerId="ADAL" clId="{CFFA14C4-1F20-45F0-A16B-155A83D4A48C}" dt="2024-12-04T18:13:59.977" v="123" actId="2696"/>
        <pc:sldMkLst>
          <pc:docMk/>
          <pc:sldMk cId="3773276505" sldId="2147473991"/>
        </pc:sldMkLst>
      </pc:sldChg>
      <pc:sldChg chg="del">
        <pc:chgData name="Androleit, Sofia" userId="a235e272-1198-4b45-ad6e-d78819128082" providerId="ADAL" clId="{CFFA14C4-1F20-45F0-A16B-155A83D4A48C}" dt="2024-12-04T18:13:59.977" v="123" actId="2696"/>
        <pc:sldMkLst>
          <pc:docMk/>
          <pc:sldMk cId="1328443834" sldId="2147473992"/>
        </pc:sldMkLst>
      </pc:sldChg>
      <pc:sldMasterChg chg="delSldLayout">
        <pc:chgData name="Androleit, Sofia" userId="a235e272-1198-4b45-ad6e-d78819128082" providerId="ADAL" clId="{CFFA14C4-1F20-45F0-A16B-155A83D4A48C}" dt="2024-12-04T22:55:28.013" v="1854" actId="2696"/>
        <pc:sldMasterMkLst>
          <pc:docMk/>
          <pc:sldMasterMk cId="3591753961" sldId="2147483694"/>
        </pc:sldMasterMkLst>
        <pc:sldLayoutChg chg="del">
          <pc:chgData name="Androleit, Sofia" userId="a235e272-1198-4b45-ad6e-d78819128082" providerId="ADAL" clId="{CFFA14C4-1F20-45F0-A16B-155A83D4A48C}" dt="2024-12-04T22:55:28.013" v="1854" actId="2696"/>
          <pc:sldLayoutMkLst>
            <pc:docMk/>
            <pc:sldMasterMk cId="3591753961" sldId="2147483694"/>
            <pc:sldLayoutMk cId="3704018340" sldId="2147483714"/>
          </pc:sldLayoutMkLst>
        </pc:sldLayoutChg>
        <pc:sldLayoutChg chg="del">
          <pc:chgData name="Androleit, Sofia" userId="a235e272-1198-4b45-ad6e-d78819128082" providerId="ADAL" clId="{CFFA14C4-1F20-45F0-A16B-155A83D4A48C}" dt="2024-12-04T22:55:28.013" v="1854" actId="2696"/>
          <pc:sldLayoutMkLst>
            <pc:docMk/>
            <pc:sldMasterMk cId="3591753961" sldId="2147483694"/>
            <pc:sldLayoutMk cId="1138029604" sldId="2147483715"/>
          </pc:sldLayoutMkLst>
        </pc:sldLayoutChg>
      </pc:sldMasterChg>
    </pc:docChg>
  </pc:docChgLst>
  <pc:docChgLst>
    <pc:chgData name="Sakmann, Sebastian" userId="677db367-4fdc-4b05-993c-0f6fcad32d5a" providerId="ADAL" clId="{3CB42A73-E4F3-4135-A92D-771E84DC22B7}"/>
    <pc:docChg chg="undo custSel addSld delSld modSld sldOrd modMainMaster">
      <pc:chgData name="Sakmann, Sebastian" userId="677db367-4fdc-4b05-993c-0f6fcad32d5a" providerId="ADAL" clId="{3CB42A73-E4F3-4135-A92D-771E84DC22B7}" dt="2024-12-10T14:09:56.981" v="8435" actId="20577"/>
      <pc:docMkLst>
        <pc:docMk/>
      </pc:docMkLst>
      <pc:sldChg chg="addSp delSp modSp mod">
        <pc:chgData name="Sakmann, Sebastian" userId="677db367-4fdc-4b05-993c-0f6fcad32d5a" providerId="ADAL" clId="{3CB42A73-E4F3-4135-A92D-771E84DC22B7}" dt="2024-12-10T14:09:56.981" v="8435" actId="20577"/>
        <pc:sldMkLst>
          <pc:docMk/>
          <pc:sldMk cId="1007497733" sldId="348"/>
        </pc:sldMkLst>
        <pc:spChg chg="add del mod modVis">
          <ac:chgData name="Sakmann, Sebastian" userId="677db367-4fdc-4b05-993c-0f6fcad32d5a" providerId="ADAL" clId="{3CB42A73-E4F3-4135-A92D-771E84DC22B7}" dt="2024-12-10T08:33:02.546" v="329"/>
          <ac:spMkLst>
            <pc:docMk/>
            <pc:sldMk cId="1007497733" sldId="348"/>
            <ac:spMk id="2" creationId="{CA7CB89C-C1E6-D020-EF4E-B041E078F049}"/>
          </ac:spMkLst>
        </pc:spChg>
        <pc:spChg chg="mod">
          <ac:chgData name="Sakmann, Sebastian" userId="677db367-4fdc-4b05-993c-0f6fcad32d5a" providerId="ADAL" clId="{3CB42A73-E4F3-4135-A92D-771E84DC22B7}" dt="2024-12-10T08:33:02.507" v="308" actId="948"/>
          <ac:spMkLst>
            <pc:docMk/>
            <pc:sldMk cId="1007497733" sldId="348"/>
            <ac:spMk id="4" creationId="{5E29EB59-F4F9-934B-C6AF-5B743BAB27DB}"/>
          </ac:spMkLst>
        </pc:spChg>
        <pc:spChg chg="mod">
          <ac:chgData name="Sakmann, Sebastian" userId="677db367-4fdc-4b05-993c-0f6fcad32d5a" providerId="ADAL" clId="{3CB42A73-E4F3-4135-A92D-771E84DC22B7}" dt="2024-12-10T14:09:56.981" v="8435" actId="20577"/>
          <ac:spMkLst>
            <pc:docMk/>
            <pc:sldMk cId="1007497733" sldId="348"/>
            <ac:spMk id="5" creationId="{3B5C146B-DA67-93D7-761A-A487D5EA0F81}"/>
          </ac:spMkLst>
        </pc:spChg>
        <pc:graphicFrameChg chg="mod">
          <ac:chgData name="Sakmann, Sebastian" userId="677db367-4fdc-4b05-993c-0f6fcad32d5a" providerId="ADAL" clId="{3CB42A73-E4F3-4135-A92D-771E84DC22B7}" dt="2024-12-10T08:33:02.549" v="331"/>
          <ac:graphicFrameMkLst>
            <pc:docMk/>
            <pc:sldMk cId="1007497733" sldId="348"/>
            <ac:graphicFrameMk id="6" creationId="{3782FADE-0A34-0721-7D0D-0E3D532EDBA2}"/>
          </ac:graphicFrameMkLst>
        </pc:graphicFrameChg>
      </pc:sldChg>
      <pc:sldChg chg="del mod modClrScheme chgLayout">
        <pc:chgData name="Sakmann, Sebastian" userId="677db367-4fdc-4b05-993c-0f6fcad32d5a" providerId="ADAL" clId="{3CB42A73-E4F3-4135-A92D-771E84DC22B7}" dt="2024-12-10T13:34:54.067" v="6888" actId="47"/>
        <pc:sldMkLst>
          <pc:docMk/>
          <pc:sldMk cId="3850313787" sldId="350"/>
        </pc:sldMkLst>
      </pc:sldChg>
      <pc:sldChg chg="del">
        <pc:chgData name="Sakmann, Sebastian" userId="677db367-4fdc-4b05-993c-0f6fcad32d5a" providerId="ADAL" clId="{3CB42A73-E4F3-4135-A92D-771E84DC22B7}" dt="2024-12-10T08:27:18.197" v="8" actId="47"/>
        <pc:sldMkLst>
          <pc:docMk/>
          <pc:sldMk cId="1711702419" sldId="355"/>
        </pc:sldMkLst>
      </pc:sldChg>
      <pc:sldChg chg="addSp delSp modSp mod">
        <pc:chgData name="Sakmann, Sebastian" userId="677db367-4fdc-4b05-993c-0f6fcad32d5a" providerId="ADAL" clId="{3CB42A73-E4F3-4135-A92D-771E84DC22B7}" dt="2024-12-10T13:40:40.283" v="6971" actId="20577"/>
        <pc:sldMkLst>
          <pc:docMk/>
          <pc:sldMk cId="3036043915" sldId="2141412379"/>
        </pc:sldMkLst>
        <pc:spChg chg="mod">
          <ac:chgData name="Sakmann, Sebastian" userId="677db367-4fdc-4b05-993c-0f6fcad32d5a" providerId="ADAL" clId="{3CB42A73-E4F3-4135-A92D-771E84DC22B7}" dt="2024-12-10T11:04:07.759" v="5358"/>
          <ac:spMkLst>
            <pc:docMk/>
            <pc:sldMk cId="3036043915" sldId="2141412379"/>
            <ac:spMk id="2" creationId="{71120FE5-941D-BF74-327B-260C1264BA21}"/>
          </ac:spMkLst>
        </pc:spChg>
        <pc:spChg chg="add del mod modVis">
          <ac:chgData name="Sakmann, Sebastian" userId="677db367-4fdc-4b05-993c-0f6fcad32d5a" providerId="ADAL" clId="{3CB42A73-E4F3-4135-A92D-771E84DC22B7}" dt="2024-12-10T08:34:01.011" v="532"/>
          <ac:spMkLst>
            <pc:docMk/>
            <pc:sldMk cId="3036043915" sldId="2141412379"/>
            <ac:spMk id="3" creationId="{0AF2999A-3F48-9256-DE50-601FD39F69F6}"/>
          </ac:spMkLst>
        </pc:spChg>
        <pc:spChg chg="add del mod modVis">
          <ac:chgData name="Sakmann, Sebastian" userId="677db367-4fdc-4b05-993c-0f6fcad32d5a" providerId="ADAL" clId="{3CB42A73-E4F3-4135-A92D-771E84DC22B7}" dt="2024-12-10T08:34:06.941" v="595"/>
          <ac:spMkLst>
            <pc:docMk/>
            <pc:sldMk cId="3036043915" sldId="2141412379"/>
            <ac:spMk id="5" creationId="{0E2F0DDA-5A7A-CB06-28D4-DCA8C4FC1921}"/>
          </ac:spMkLst>
        </pc:spChg>
        <pc:spChg chg="add del mod modVis">
          <ac:chgData name="Sakmann, Sebastian" userId="677db367-4fdc-4b05-993c-0f6fcad32d5a" providerId="ADAL" clId="{3CB42A73-E4F3-4135-A92D-771E84DC22B7}" dt="2024-12-10T11:03:58.142" v="5247"/>
          <ac:spMkLst>
            <pc:docMk/>
            <pc:sldMk cId="3036043915" sldId="2141412379"/>
            <ac:spMk id="7" creationId="{A15C2F41-5922-9CB7-4DF7-EDF8F335C0D4}"/>
          </ac:spMkLst>
        </pc:spChg>
        <pc:spChg chg="add del mod modVis">
          <ac:chgData name="Sakmann, Sebastian" userId="677db367-4fdc-4b05-993c-0f6fcad32d5a" providerId="ADAL" clId="{3CB42A73-E4F3-4135-A92D-771E84DC22B7}" dt="2024-12-10T11:03:59.185" v="5276"/>
          <ac:spMkLst>
            <pc:docMk/>
            <pc:sldMk cId="3036043915" sldId="2141412379"/>
            <ac:spMk id="8" creationId="{6EBC8161-C865-7745-2909-1C7B7BF11A05}"/>
          </ac:spMkLst>
        </pc:spChg>
        <pc:spChg chg="add del mod modVis">
          <ac:chgData name="Sakmann, Sebastian" userId="677db367-4fdc-4b05-993c-0f6fcad32d5a" providerId="ADAL" clId="{3CB42A73-E4F3-4135-A92D-771E84DC22B7}" dt="2024-12-10T11:03:59.999" v="5302"/>
          <ac:spMkLst>
            <pc:docMk/>
            <pc:sldMk cId="3036043915" sldId="2141412379"/>
            <ac:spMk id="9" creationId="{80508C21-526D-207D-81D4-3B66BAC2C9D0}"/>
          </ac:spMkLst>
        </pc:spChg>
        <pc:spChg chg="add del mod modVis">
          <ac:chgData name="Sakmann, Sebastian" userId="677db367-4fdc-4b05-993c-0f6fcad32d5a" providerId="ADAL" clId="{3CB42A73-E4F3-4135-A92D-771E84DC22B7}" dt="2024-12-10T11:04:07.759" v="5356" actId="962"/>
          <ac:spMkLst>
            <pc:docMk/>
            <pc:sldMk cId="3036043915" sldId="2141412379"/>
            <ac:spMk id="10" creationId="{237FB74C-F350-683B-8B19-941C5612699D}"/>
          </ac:spMkLst>
        </pc:spChg>
        <pc:spChg chg="add mod">
          <ac:chgData name="Sakmann, Sebastian" userId="677db367-4fdc-4b05-993c-0f6fcad32d5a" providerId="ADAL" clId="{3CB42A73-E4F3-4135-A92D-771E84DC22B7}" dt="2024-12-10T13:40:40.283" v="6971" actId="20577"/>
          <ac:spMkLst>
            <pc:docMk/>
            <pc:sldMk cId="3036043915" sldId="2141412379"/>
            <ac:spMk id="12" creationId="{ACA58F84-05E8-8117-8BA4-9F0430FCB9EF}"/>
          </ac:spMkLst>
        </pc:spChg>
        <pc:spChg chg="add mod">
          <ac:chgData name="Sakmann, Sebastian" userId="677db367-4fdc-4b05-993c-0f6fcad32d5a" providerId="ADAL" clId="{3CB42A73-E4F3-4135-A92D-771E84DC22B7}" dt="2024-12-10T13:40:14.005" v="6967" actId="207"/>
          <ac:spMkLst>
            <pc:docMk/>
            <pc:sldMk cId="3036043915" sldId="2141412379"/>
            <ac:spMk id="13" creationId="{B6932A24-B021-CB42-C119-1DDA7E6AB3F0}"/>
          </ac:spMkLst>
        </pc:spChg>
        <pc:spChg chg="add mod">
          <ac:chgData name="Sakmann, Sebastian" userId="677db367-4fdc-4b05-993c-0f6fcad32d5a" providerId="ADAL" clId="{3CB42A73-E4F3-4135-A92D-771E84DC22B7}" dt="2024-12-10T13:40:14.005" v="6967" actId="207"/>
          <ac:spMkLst>
            <pc:docMk/>
            <pc:sldMk cId="3036043915" sldId="2141412379"/>
            <ac:spMk id="14" creationId="{5420D20D-6F74-C1FF-1433-56C6F56A08B0}"/>
          </ac:spMkLst>
        </pc:spChg>
        <pc:spChg chg="del">
          <ac:chgData name="Sakmann, Sebastian" userId="677db367-4fdc-4b05-993c-0f6fcad32d5a" providerId="ADAL" clId="{3CB42A73-E4F3-4135-A92D-771E84DC22B7}" dt="2024-12-10T13:18:18.862" v="5410" actId="478"/>
          <ac:spMkLst>
            <pc:docMk/>
            <pc:sldMk cId="3036043915" sldId="2141412379"/>
            <ac:spMk id="16" creationId="{C6177429-7A17-067F-5211-9DFDC72338B2}"/>
          </ac:spMkLst>
        </pc:spChg>
        <pc:spChg chg="add mod">
          <ac:chgData name="Sakmann, Sebastian" userId="677db367-4fdc-4b05-993c-0f6fcad32d5a" providerId="ADAL" clId="{3CB42A73-E4F3-4135-A92D-771E84DC22B7}" dt="2024-12-10T13:40:14.005" v="6967" actId="207"/>
          <ac:spMkLst>
            <pc:docMk/>
            <pc:sldMk cId="3036043915" sldId="2141412379"/>
            <ac:spMk id="17" creationId="{0A8C9C84-4B0F-799F-6EFB-83CB35B638F5}"/>
          </ac:spMkLst>
        </pc:spChg>
        <pc:spChg chg="add mod">
          <ac:chgData name="Sakmann, Sebastian" userId="677db367-4fdc-4b05-993c-0f6fcad32d5a" providerId="ADAL" clId="{3CB42A73-E4F3-4135-A92D-771E84DC22B7}" dt="2024-12-10T13:40:14.005" v="6967" actId="207"/>
          <ac:spMkLst>
            <pc:docMk/>
            <pc:sldMk cId="3036043915" sldId="2141412379"/>
            <ac:spMk id="18" creationId="{A258498A-E021-1D45-EC9B-A39243D59478}"/>
          </ac:spMkLst>
        </pc:spChg>
        <pc:spChg chg="add mod">
          <ac:chgData name="Sakmann, Sebastian" userId="677db367-4fdc-4b05-993c-0f6fcad32d5a" providerId="ADAL" clId="{3CB42A73-E4F3-4135-A92D-771E84DC22B7}" dt="2024-12-10T13:40:14.005" v="6967" actId="207"/>
          <ac:spMkLst>
            <pc:docMk/>
            <pc:sldMk cId="3036043915" sldId="2141412379"/>
            <ac:spMk id="19" creationId="{C688F52F-1611-F2BA-DE00-A96872144331}"/>
          </ac:spMkLst>
        </pc:spChg>
        <pc:spChg chg="add mod">
          <ac:chgData name="Sakmann, Sebastian" userId="677db367-4fdc-4b05-993c-0f6fcad32d5a" providerId="ADAL" clId="{3CB42A73-E4F3-4135-A92D-771E84DC22B7}" dt="2024-12-10T13:40:14.005" v="6967" actId="207"/>
          <ac:spMkLst>
            <pc:docMk/>
            <pc:sldMk cId="3036043915" sldId="2141412379"/>
            <ac:spMk id="20" creationId="{DC5EC3AC-0005-EA22-75B0-BE51EBC0EE0B}"/>
          </ac:spMkLst>
        </pc:spChg>
        <pc:spChg chg="add mod">
          <ac:chgData name="Sakmann, Sebastian" userId="677db367-4fdc-4b05-993c-0f6fcad32d5a" providerId="ADAL" clId="{3CB42A73-E4F3-4135-A92D-771E84DC22B7}" dt="2024-12-10T13:32:35.054" v="6878" actId="1036"/>
          <ac:spMkLst>
            <pc:docMk/>
            <pc:sldMk cId="3036043915" sldId="2141412379"/>
            <ac:spMk id="23" creationId="{763412D6-6944-F47F-DD35-D9E3CBCFA599}"/>
          </ac:spMkLst>
        </pc:spChg>
        <pc:spChg chg="add mod">
          <ac:chgData name="Sakmann, Sebastian" userId="677db367-4fdc-4b05-993c-0f6fcad32d5a" providerId="ADAL" clId="{3CB42A73-E4F3-4135-A92D-771E84DC22B7}" dt="2024-12-10T13:32:41.704" v="6880" actId="1076"/>
          <ac:spMkLst>
            <pc:docMk/>
            <pc:sldMk cId="3036043915" sldId="2141412379"/>
            <ac:spMk id="26" creationId="{888295E9-F9A7-3455-E1D3-4F23B0DD0722}"/>
          </ac:spMkLst>
        </pc:spChg>
        <pc:spChg chg="add mod">
          <ac:chgData name="Sakmann, Sebastian" userId="677db367-4fdc-4b05-993c-0f6fcad32d5a" providerId="ADAL" clId="{3CB42A73-E4F3-4135-A92D-771E84DC22B7}" dt="2024-12-10T13:32:47.668" v="6882" actId="1076"/>
          <ac:spMkLst>
            <pc:docMk/>
            <pc:sldMk cId="3036043915" sldId="2141412379"/>
            <ac:spMk id="27" creationId="{4D7755C3-BCF6-8904-0745-895B2DD9A8FD}"/>
          </ac:spMkLst>
        </pc:spChg>
        <pc:spChg chg="add mod">
          <ac:chgData name="Sakmann, Sebastian" userId="677db367-4fdc-4b05-993c-0f6fcad32d5a" providerId="ADAL" clId="{3CB42A73-E4F3-4135-A92D-771E84DC22B7}" dt="2024-12-10T13:32:53.315" v="6884" actId="1076"/>
          <ac:spMkLst>
            <pc:docMk/>
            <pc:sldMk cId="3036043915" sldId="2141412379"/>
            <ac:spMk id="29" creationId="{E3240756-4638-D884-239A-1216FC6C5735}"/>
          </ac:spMkLst>
        </pc:spChg>
        <pc:spChg chg="add mod">
          <ac:chgData name="Sakmann, Sebastian" userId="677db367-4fdc-4b05-993c-0f6fcad32d5a" providerId="ADAL" clId="{3CB42A73-E4F3-4135-A92D-771E84DC22B7}" dt="2024-12-10T13:33:02.154" v="6887" actId="1076"/>
          <ac:spMkLst>
            <pc:docMk/>
            <pc:sldMk cId="3036043915" sldId="2141412379"/>
            <ac:spMk id="30" creationId="{E3C692AF-61CF-3DFE-7C84-491A3003DC10}"/>
          </ac:spMkLst>
        </pc:spChg>
        <pc:spChg chg="del mod">
          <ac:chgData name="Sakmann, Sebastian" userId="677db367-4fdc-4b05-993c-0f6fcad32d5a" providerId="ADAL" clId="{3CB42A73-E4F3-4135-A92D-771E84DC22B7}" dt="2024-12-10T13:30:06.229" v="6461" actId="478"/>
          <ac:spMkLst>
            <pc:docMk/>
            <pc:sldMk cId="3036043915" sldId="2141412379"/>
            <ac:spMk id="34" creationId="{C591C6CE-3A03-78AB-C712-53032C4DAB1D}"/>
          </ac:spMkLst>
        </pc:spChg>
        <pc:grpChg chg="del">
          <ac:chgData name="Sakmann, Sebastian" userId="677db367-4fdc-4b05-993c-0f6fcad32d5a" providerId="ADAL" clId="{3CB42A73-E4F3-4135-A92D-771E84DC22B7}" dt="2024-12-10T13:18:18.862" v="5410" actId="478"/>
          <ac:grpSpMkLst>
            <pc:docMk/>
            <pc:sldMk cId="3036043915" sldId="2141412379"/>
            <ac:grpSpMk id="33" creationId="{F2D46F68-DEC0-A3E0-CCE3-1B4FCE554B88}"/>
          </ac:grpSpMkLst>
        </pc:grpChg>
        <pc:graphicFrameChg chg="mod">
          <ac:chgData name="Sakmann, Sebastian" userId="677db367-4fdc-4b05-993c-0f6fcad32d5a" providerId="ADAL" clId="{3CB42A73-E4F3-4135-A92D-771E84DC22B7}" dt="2024-12-10T11:04:07.774" v="5360"/>
          <ac:graphicFrameMkLst>
            <pc:docMk/>
            <pc:sldMk cId="3036043915" sldId="2141412379"/>
            <ac:graphicFrameMk id="6" creationId="{1D92E16C-92DC-98AA-5847-4F3E4B3EE354}"/>
          </ac:graphicFrameMkLst>
        </pc:graphicFrameChg>
        <pc:picChg chg="del mod">
          <ac:chgData name="Sakmann, Sebastian" userId="677db367-4fdc-4b05-993c-0f6fcad32d5a" providerId="ADAL" clId="{3CB42A73-E4F3-4135-A92D-771E84DC22B7}" dt="2024-12-10T13:18:18.862" v="5410" actId="478"/>
          <ac:picMkLst>
            <pc:docMk/>
            <pc:sldMk cId="3036043915" sldId="2141412379"/>
            <ac:picMk id="15" creationId="{01543777-72A0-FDB6-FE92-7D0B9B348DF0}"/>
          </ac:picMkLst>
        </pc:picChg>
        <pc:cxnChg chg="mod">
          <ac:chgData name="Sakmann, Sebastian" userId="677db367-4fdc-4b05-993c-0f6fcad32d5a" providerId="ADAL" clId="{3CB42A73-E4F3-4135-A92D-771E84DC22B7}" dt="2024-12-10T13:18:18.862" v="5410" actId="478"/>
          <ac:cxnSpMkLst>
            <pc:docMk/>
            <pc:sldMk cId="3036043915" sldId="2141412379"/>
            <ac:cxnSpMk id="24" creationId="{BF4BF203-DBF3-1C65-BEEC-45F50B31FD6D}"/>
          </ac:cxnSpMkLst>
        </pc:cxnChg>
        <pc:cxnChg chg="mod">
          <ac:chgData name="Sakmann, Sebastian" userId="677db367-4fdc-4b05-993c-0f6fcad32d5a" providerId="ADAL" clId="{3CB42A73-E4F3-4135-A92D-771E84DC22B7}" dt="2024-12-10T13:18:18.862" v="5410" actId="478"/>
          <ac:cxnSpMkLst>
            <pc:docMk/>
            <pc:sldMk cId="3036043915" sldId="2141412379"/>
            <ac:cxnSpMk id="25" creationId="{13299AE4-E0B8-830A-C9E3-C623EC881260}"/>
          </ac:cxnSpMkLst>
        </pc:cxnChg>
      </pc:sldChg>
      <pc:sldChg chg="addSp delSp modSp mod">
        <pc:chgData name="Sakmann, Sebastian" userId="677db367-4fdc-4b05-993c-0f6fcad32d5a" providerId="ADAL" clId="{3CB42A73-E4F3-4135-A92D-771E84DC22B7}" dt="2024-12-10T11:34:56.941" v="5409" actId="1036"/>
        <pc:sldMkLst>
          <pc:docMk/>
          <pc:sldMk cId="63494748" sldId="2141412380"/>
        </pc:sldMkLst>
        <pc:spChg chg="mod">
          <ac:chgData name="Sakmann, Sebastian" userId="677db367-4fdc-4b05-993c-0f6fcad32d5a" providerId="ADAL" clId="{3CB42A73-E4F3-4135-A92D-771E84DC22B7}" dt="2024-12-10T11:03:48.457" v="5195" actId="948"/>
          <ac:spMkLst>
            <pc:docMk/>
            <pc:sldMk cId="63494748" sldId="2141412380"/>
            <ac:spMk id="2" creationId="{28956A9D-DD7B-C71C-A4E3-27219B48D958}"/>
          </ac:spMkLst>
        </pc:spChg>
        <pc:spChg chg="mod">
          <ac:chgData name="Sakmann, Sebastian" userId="677db367-4fdc-4b05-993c-0f6fcad32d5a" providerId="ADAL" clId="{3CB42A73-E4F3-4135-A92D-771E84DC22B7}" dt="2024-12-10T10:59:50.167" v="5127" actId="14100"/>
          <ac:spMkLst>
            <pc:docMk/>
            <pc:sldMk cId="63494748" sldId="2141412380"/>
            <ac:spMk id="8" creationId="{CEA5AD0B-7BF5-F066-AD92-B5641821DCD0}"/>
          </ac:spMkLst>
        </pc:spChg>
        <pc:spChg chg="add del mod">
          <ac:chgData name="Sakmann, Sebastian" userId="677db367-4fdc-4b05-993c-0f6fcad32d5a" providerId="ADAL" clId="{3CB42A73-E4F3-4135-A92D-771E84DC22B7}" dt="2024-12-10T10:46:54.643" v="3835" actId="478"/>
          <ac:spMkLst>
            <pc:docMk/>
            <pc:sldMk cId="63494748" sldId="2141412380"/>
            <ac:spMk id="9" creationId="{6AB00A5C-812F-C089-5A9D-7A5840908801}"/>
          </ac:spMkLst>
        </pc:spChg>
        <pc:spChg chg="mod">
          <ac:chgData name="Sakmann, Sebastian" userId="677db367-4fdc-4b05-993c-0f6fcad32d5a" providerId="ADAL" clId="{3CB42A73-E4F3-4135-A92D-771E84DC22B7}" dt="2024-12-10T10:59:45.322" v="5126" actId="20577"/>
          <ac:spMkLst>
            <pc:docMk/>
            <pc:sldMk cId="63494748" sldId="2141412380"/>
            <ac:spMk id="10" creationId="{2DFF98B5-96A0-EB5A-1128-CEBC0A4E07CA}"/>
          </ac:spMkLst>
        </pc:spChg>
        <pc:spChg chg="add mod">
          <ac:chgData name="Sakmann, Sebastian" userId="677db367-4fdc-4b05-993c-0f6fcad32d5a" providerId="ADAL" clId="{3CB42A73-E4F3-4135-A92D-771E84DC22B7}" dt="2024-12-10T11:02:27.340" v="5169" actId="1037"/>
          <ac:spMkLst>
            <pc:docMk/>
            <pc:sldMk cId="63494748" sldId="2141412380"/>
            <ac:spMk id="15" creationId="{4C90F61D-AFEA-E69E-19B9-53A2244A2E41}"/>
          </ac:spMkLst>
        </pc:spChg>
        <pc:spChg chg="add mod">
          <ac:chgData name="Sakmann, Sebastian" userId="677db367-4fdc-4b05-993c-0f6fcad32d5a" providerId="ADAL" clId="{3CB42A73-E4F3-4135-A92D-771E84DC22B7}" dt="2024-12-10T11:34:56.941" v="5409" actId="1036"/>
          <ac:spMkLst>
            <pc:docMk/>
            <pc:sldMk cId="63494748" sldId="2141412380"/>
            <ac:spMk id="20" creationId="{0E9B77EF-1C96-F8FA-CB71-8B62EAF46E71}"/>
          </ac:spMkLst>
        </pc:spChg>
        <pc:spChg chg="add del mod modVis">
          <ac:chgData name="Sakmann, Sebastian" userId="677db367-4fdc-4b05-993c-0f6fcad32d5a" providerId="ADAL" clId="{3CB42A73-E4F3-4135-A92D-771E84DC22B7}" dt="2024-12-10T11:03:48.488" v="5216"/>
          <ac:spMkLst>
            <pc:docMk/>
            <pc:sldMk cId="63494748" sldId="2141412380"/>
            <ac:spMk id="21" creationId="{927C7ACB-ADC6-B6F2-4C10-DBEA2432F7B4}"/>
          </ac:spMkLst>
        </pc:spChg>
        <pc:graphicFrameChg chg="mod">
          <ac:chgData name="Sakmann, Sebastian" userId="677db367-4fdc-4b05-993c-0f6fcad32d5a" providerId="ADAL" clId="{3CB42A73-E4F3-4135-A92D-771E84DC22B7}" dt="2024-12-10T11:03:48.491" v="5218"/>
          <ac:graphicFrameMkLst>
            <pc:docMk/>
            <pc:sldMk cId="63494748" sldId="2141412380"/>
            <ac:graphicFrameMk id="5" creationId="{753C9F10-D81B-CB8A-5107-761F90585341}"/>
          </ac:graphicFrameMkLst>
        </pc:graphicFrameChg>
        <pc:picChg chg="del">
          <ac:chgData name="Sakmann, Sebastian" userId="677db367-4fdc-4b05-993c-0f6fcad32d5a" providerId="ADAL" clId="{3CB42A73-E4F3-4135-A92D-771E84DC22B7}" dt="2024-12-10T10:44:28.162" v="3823" actId="478"/>
          <ac:picMkLst>
            <pc:docMk/>
            <pc:sldMk cId="63494748" sldId="2141412380"/>
            <ac:picMk id="3" creationId="{6EAEFBB3-AA02-9724-2368-8070D51D700D}"/>
          </ac:picMkLst>
        </pc:picChg>
        <pc:picChg chg="del mod">
          <ac:chgData name="Sakmann, Sebastian" userId="677db367-4fdc-4b05-993c-0f6fcad32d5a" providerId="ADAL" clId="{3CB42A73-E4F3-4135-A92D-771E84DC22B7}" dt="2024-12-10T10:49:50.985" v="4202" actId="478"/>
          <ac:picMkLst>
            <pc:docMk/>
            <pc:sldMk cId="63494748" sldId="2141412380"/>
            <ac:picMk id="6" creationId="{6945AF14-5BC0-EB04-386E-86849AD37F2C}"/>
          </ac:picMkLst>
        </pc:picChg>
        <pc:picChg chg="add del mod">
          <ac:chgData name="Sakmann, Sebastian" userId="677db367-4fdc-4b05-993c-0f6fcad32d5a" providerId="ADAL" clId="{3CB42A73-E4F3-4135-A92D-771E84DC22B7}" dt="2024-12-10T10:46:34.317" v="3831" actId="21"/>
          <ac:picMkLst>
            <pc:docMk/>
            <pc:sldMk cId="63494748" sldId="2141412380"/>
            <ac:picMk id="12" creationId="{578313F0-0317-8792-965E-10E759B4250C}"/>
          </ac:picMkLst>
        </pc:picChg>
        <pc:picChg chg="add mod modCrop">
          <ac:chgData name="Sakmann, Sebastian" userId="677db367-4fdc-4b05-993c-0f6fcad32d5a" providerId="ADAL" clId="{3CB42A73-E4F3-4135-A92D-771E84DC22B7}" dt="2024-12-10T11:02:27.340" v="5169" actId="1037"/>
          <ac:picMkLst>
            <pc:docMk/>
            <pc:sldMk cId="63494748" sldId="2141412380"/>
            <ac:picMk id="14" creationId="{E3CFFEA1-35E4-C808-41D8-E30264E53388}"/>
          </ac:picMkLst>
        </pc:picChg>
        <pc:picChg chg="add mod">
          <ac:chgData name="Sakmann, Sebastian" userId="677db367-4fdc-4b05-993c-0f6fcad32d5a" providerId="ADAL" clId="{3CB42A73-E4F3-4135-A92D-771E84DC22B7}" dt="2024-12-10T11:33:39.789" v="5398" actId="1036"/>
          <ac:picMkLst>
            <pc:docMk/>
            <pc:sldMk cId="63494748" sldId="2141412380"/>
            <ac:picMk id="17" creationId="{92B801C3-0315-9837-4219-E841EEF7138B}"/>
          </ac:picMkLst>
        </pc:picChg>
        <pc:picChg chg="add mod">
          <ac:chgData name="Sakmann, Sebastian" userId="677db367-4fdc-4b05-993c-0f6fcad32d5a" providerId="ADAL" clId="{3CB42A73-E4F3-4135-A92D-771E84DC22B7}" dt="2024-12-10T11:34:00.304" v="5401" actId="14861"/>
          <ac:picMkLst>
            <pc:docMk/>
            <pc:sldMk cId="63494748" sldId="2141412380"/>
            <ac:picMk id="19" creationId="{8EA6C863-8521-F4C3-98F6-375B8D06E1CD}"/>
          </ac:picMkLst>
        </pc:picChg>
      </pc:sldChg>
      <pc:sldChg chg="delSp modSp mod">
        <pc:chgData name="Sakmann, Sebastian" userId="677db367-4fdc-4b05-993c-0f6fcad32d5a" providerId="ADAL" clId="{3CB42A73-E4F3-4135-A92D-771E84DC22B7}" dt="2024-12-10T14:09:30.323" v="8413" actId="5793"/>
        <pc:sldMkLst>
          <pc:docMk/>
          <pc:sldMk cId="817067389" sldId="2141412381"/>
        </pc:sldMkLst>
        <pc:spChg chg="mod">
          <ac:chgData name="Sakmann, Sebastian" userId="677db367-4fdc-4b05-993c-0f6fcad32d5a" providerId="ADAL" clId="{3CB42A73-E4F3-4135-A92D-771E84DC22B7}" dt="2024-12-10T14:09:30.323" v="8413" actId="5793"/>
          <ac:spMkLst>
            <pc:docMk/>
            <pc:sldMk cId="817067389" sldId="2141412381"/>
            <ac:spMk id="3" creationId="{8F846FEC-1F0E-1C61-4852-B656F3C8801B}"/>
          </ac:spMkLst>
        </pc:spChg>
        <pc:spChg chg="mod">
          <ac:chgData name="Sakmann, Sebastian" userId="677db367-4fdc-4b05-993c-0f6fcad32d5a" providerId="ADAL" clId="{3CB42A73-E4F3-4135-A92D-771E84DC22B7}" dt="2024-12-10T14:09:02.318" v="8305" actId="1036"/>
          <ac:spMkLst>
            <pc:docMk/>
            <pc:sldMk cId="817067389" sldId="2141412381"/>
            <ac:spMk id="8" creationId="{97A9C75B-E87A-B7FF-DAA6-1EB935747AA5}"/>
          </ac:spMkLst>
        </pc:spChg>
        <pc:graphicFrameChg chg="mod modGraphic">
          <ac:chgData name="Sakmann, Sebastian" userId="677db367-4fdc-4b05-993c-0f6fcad32d5a" providerId="ADAL" clId="{3CB42A73-E4F3-4135-A92D-771E84DC22B7}" dt="2024-12-10T14:09:02.318" v="8305" actId="1036"/>
          <ac:graphicFrameMkLst>
            <pc:docMk/>
            <pc:sldMk cId="817067389" sldId="2141412381"/>
            <ac:graphicFrameMk id="7" creationId="{3569E146-4166-8725-8054-EAB7CCEC6758}"/>
          </ac:graphicFrameMkLst>
        </pc:graphicFrameChg>
        <pc:picChg chg="del">
          <ac:chgData name="Sakmann, Sebastian" userId="677db367-4fdc-4b05-993c-0f6fcad32d5a" providerId="ADAL" clId="{3CB42A73-E4F3-4135-A92D-771E84DC22B7}" dt="2024-12-10T13:54:30.147" v="8256" actId="478"/>
          <ac:picMkLst>
            <pc:docMk/>
            <pc:sldMk cId="817067389" sldId="2141412381"/>
            <ac:picMk id="5" creationId="{B0350235-955D-61B5-FF42-BA08B613BECB}"/>
          </ac:picMkLst>
        </pc:picChg>
      </pc:sldChg>
      <pc:sldChg chg="addSp delSp modSp del mod ord">
        <pc:chgData name="Sakmann, Sebastian" userId="677db367-4fdc-4b05-993c-0f6fcad32d5a" providerId="ADAL" clId="{3CB42A73-E4F3-4135-A92D-771E84DC22B7}" dt="2024-12-10T10:43:07.497" v="3821" actId="47"/>
        <pc:sldMkLst>
          <pc:docMk/>
          <pc:sldMk cId="446919473" sldId="2141412382"/>
        </pc:sldMkLst>
        <pc:spChg chg="mod">
          <ac:chgData name="Sakmann, Sebastian" userId="677db367-4fdc-4b05-993c-0f6fcad32d5a" providerId="ADAL" clId="{3CB42A73-E4F3-4135-A92D-771E84DC22B7}" dt="2024-12-10T08:38:37.049" v="1053" actId="948"/>
          <ac:spMkLst>
            <pc:docMk/>
            <pc:sldMk cId="446919473" sldId="2141412382"/>
            <ac:spMk id="2" creationId="{8012B1D5-3D72-2449-CEBA-54148224CC3E}"/>
          </ac:spMkLst>
        </pc:spChg>
        <pc:spChg chg="del">
          <ac:chgData name="Sakmann, Sebastian" userId="677db367-4fdc-4b05-993c-0f6fcad32d5a" providerId="ADAL" clId="{3CB42A73-E4F3-4135-A92D-771E84DC22B7}" dt="2024-12-10T08:37:10.571" v="912" actId="478"/>
          <ac:spMkLst>
            <pc:docMk/>
            <pc:sldMk cId="446919473" sldId="2141412382"/>
            <ac:spMk id="4" creationId="{4BCE49E8-ACD7-8401-5B01-443E3EA0421F}"/>
          </ac:spMkLst>
        </pc:spChg>
        <pc:spChg chg="mod">
          <ac:chgData name="Sakmann, Sebastian" userId="677db367-4fdc-4b05-993c-0f6fcad32d5a" providerId="ADAL" clId="{3CB42A73-E4F3-4135-A92D-771E84DC22B7}" dt="2024-12-10T08:36:38.874" v="899"/>
          <ac:spMkLst>
            <pc:docMk/>
            <pc:sldMk cId="446919473" sldId="2141412382"/>
            <ac:spMk id="9" creationId="{AA617E4B-6EEF-9BE9-9E3C-1E8B84134896}"/>
          </ac:spMkLst>
        </pc:spChg>
        <pc:spChg chg="add mod">
          <ac:chgData name="Sakmann, Sebastian" userId="677db367-4fdc-4b05-993c-0f6fcad32d5a" providerId="ADAL" clId="{3CB42A73-E4F3-4135-A92D-771E84DC22B7}" dt="2024-12-10T08:38:24.193" v="1026" actId="20577"/>
          <ac:spMkLst>
            <pc:docMk/>
            <pc:sldMk cId="446919473" sldId="2141412382"/>
            <ac:spMk id="10" creationId="{0118D2ED-5104-1BF4-1F6B-003DB2514E3F}"/>
          </ac:spMkLst>
        </pc:spChg>
        <pc:spChg chg="add del mod modVis">
          <ac:chgData name="Sakmann, Sebastian" userId="677db367-4fdc-4b05-993c-0f6fcad32d5a" providerId="ADAL" clId="{3CB42A73-E4F3-4135-A92D-771E84DC22B7}" dt="2024-12-10T08:38:34.934" v="1049"/>
          <ac:spMkLst>
            <pc:docMk/>
            <pc:sldMk cId="446919473" sldId="2141412382"/>
            <ac:spMk id="11" creationId="{FB37B15D-740D-8520-E047-C54C0C4CB1DF}"/>
          </ac:spMkLst>
        </pc:spChg>
        <pc:spChg chg="add del mod modVis">
          <ac:chgData name="Sakmann, Sebastian" userId="677db367-4fdc-4b05-993c-0f6fcad32d5a" providerId="ADAL" clId="{3CB42A73-E4F3-4135-A92D-771E84DC22B7}" dt="2024-12-10T08:38:37.096" v="1074"/>
          <ac:spMkLst>
            <pc:docMk/>
            <pc:sldMk cId="446919473" sldId="2141412382"/>
            <ac:spMk id="12" creationId="{B9B87513-3E67-6174-CEFB-75B6AFADE8A3}"/>
          </ac:spMkLst>
        </pc:spChg>
        <pc:spChg chg="add del mod">
          <ac:chgData name="Sakmann, Sebastian" userId="677db367-4fdc-4b05-993c-0f6fcad32d5a" providerId="ADAL" clId="{3CB42A73-E4F3-4135-A92D-771E84DC22B7}" dt="2024-12-10T08:40:07.431" v="1171" actId="478"/>
          <ac:spMkLst>
            <pc:docMk/>
            <pc:sldMk cId="446919473" sldId="2141412382"/>
            <ac:spMk id="13" creationId="{36CEFAB2-BEF3-CC0E-4D4A-03CC13B28E98}"/>
          </ac:spMkLst>
        </pc:spChg>
        <pc:spChg chg="mod">
          <ac:chgData name="Sakmann, Sebastian" userId="677db367-4fdc-4b05-993c-0f6fcad32d5a" providerId="ADAL" clId="{3CB42A73-E4F3-4135-A92D-771E84DC22B7}" dt="2024-12-10T08:50:08.361" v="1382" actId="14100"/>
          <ac:spMkLst>
            <pc:docMk/>
            <pc:sldMk cId="446919473" sldId="2141412382"/>
            <ac:spMk id="14" creationId="{9FEE8ED9-F371-9218-1D86-48BDAEA4F6D8}"/>
          </ac:spMkLst>
        </pc:spChg>
        <pc:spChg chg="add mod">
          <ac:chgData name="Sakmann, Sebastian" userId="677db367-4fdc-4b05-993c-0f6fcad32d5a" providerId="ADAL" clId="{3CB42A73-E4F3-4135-A92D-771E84DC22B7}" dt="2024-12-10T08:40:42.887" v="1175" actId="1582"/>
          <ac:spMkLst>
            <pc:docMk/>
            <pc:sldMk cId="446919473" sldId="2141412382"/>
            <ac:spMk id="15" creationId="{A443464A-D7C3-0508-516B-78399E904429}"/>
          </ac:spMkLst>
        </pc:spChg>
        <pc:spChg chg="add mod">
          <ac:chgData name="Sakmann, Sebastian" userId="677db367-4fdc-4b05-993c-0f6fcad32d5a" providerId="ADAL" clId="{3CB42A73-E4F3-4135-A92D-771E84DC22B7}" dt="2024-12-10T08:42:08.604" v="1199" actId="1076"/>
          <ac:spMkLst>
            <pc:docMk/>
            <pc:sldMk cId="446919473" sldId="2141412382"/>
            <ac:spMk id="19" creationId="{620EF23D-3D1B-E932-5E5F-3D3D5DFB5C62}"/>
          </ac:spMkLst>
        </pc:spChg>
        <pc:grpChg chg="add mod">
          <ac:chgData name="Sakmann, Sebastian" userId="677db367-4fdc-4b05-993c-0f6fcad32d5a" providerId="ADAL" clId="{3CB42A73-E4F3-4135-A92D-771E84DC22B7}" dt="2024-12-10T08:40:59.802" v="1179" actId="1076"/>
          <ac:grpSpMkLst>
            <pc:docMk/>
            <pc:sldMk cId="446919473" sldId="2141412382"/>
            <ac:grpSpMk id="3" creationId="{5B140BF6-8E3B-9E53-F73E-B37D6C0077ED}"/>
          </ac:grpSpMkLst>
        </pc:grpChg>
        <pc:graphicFrameChg chg="mod">
          <ac:chgData name="Sakmann, Sebastian" userId="677db367-4fdc-4b05-993c-0f6fcad32d5a" providerId="ADAL" clId="{3CB42A73-E4F3-4135-A92D-771E84DC22B7}" dt="2024-12-10T08:38:37.105" v="1076"/>
          <ac:graphicFrameMkLst>
            <pc:docMk/>
            <pc:sldMk cId="446919473" sldId="2141412382"/>
            <ac:graphicFrameMk id="7" creationId="{C9C7E52A-5E4D-CD3B-6570-E84F7516DD61}"/>
          </ac:graphicFrameMkLst>
        </pc:graphicFrameChg>
        <pc:picChg chg="mod modCrop">
          <ac:chgData name="Sakmann, Sebastian" userId="677db367-4fdc-4b05-993c-0f6fcad32d5a" providerId="ADAL" clId="{3CB42A73-E4F3-4135-A92D-771E84DC22B7}" dt="2024-12-10T08:37:25.117" v="914" actId="732"/>
          <ac:picMkLst>
            <pc:docMk/>
            <pc:sldMk cId="446919473" sldId="2141412382"/>
            <ac:picMk id="6" creationId="{C35BE588-AD46-AF6C-0CB2-A30C3D94F173}"/>
          </ac:picMkLst>
        </pc:picChg>
        <pc:picChg chg="mod">
          <ac:chgData name="Sakmann, Sebastian" userId="677db367-4fdc-4b05-993c-0f6fcad32d5a" providerId="ADAL" clId="{3CB42A73-E4F3-4135-A92D-771E84DC22B7}" dt="2024-12-10T08:36:38.874" v="899"/>
          <ac:picMkLst>
            <pc:docMk/>
            <pc:sldMk cId="446919473" sldId="2141412382"/>
            <ac:picMk id="8" creationId="{A285AAFE-5FB9-56A9-738F-D4480EF85B2E}"/>
          </ac:picMkLst>
        </pc:picChg>
        <pc:picChg chg="add mod">
          <ac:chgData name="Sakmann, Sebastian" userId="677db367-4fdc-4b05-993c-0f6fcad32d5a" providerId="ADAL" clId="{3CB42A73-E4F3-4135-A92D-771E84DC22B7}" dt="2024-12-10T08:50:04.120" v="1381" actId="1076"/>
          <ac:picMkLst>
            <pc:docMk/>
            <pc:sldMk cId="446919473" sldId="2141412382"/>
            <ac:picMk id="23" creationId="{8B4C8749-6C45-8C9A-7B22-088D8145DA78}"/>
          </ac:picMkLst>
        </pc:picChg>
        <pc:cxnChg chg="add mod">
          <ac:chgData name="Sakmann, Sebastian" userId="677db367-4fdc-4b05-993c-0f6fcad32d5a" providerId="ADAL" clId="{3CB42A73-E4F3-4135-A92D-771E84DC22B7}" dt="2024-12-10T08:41:52.865" v="1198" actId="1582"/>
          <ac:cxnSpMkLst>
            <pc:docMk/>
            <pc:sldMk cId="446919473" sldId="2141412382"/>
            <ac:cxnSpMk id="17" creationId="{CAC5EF44-F46E-E885-302A-30B332693015}"/>
          </ac:cxnSpMkLst>
        </pc:cxnChg>
      </pc:sldChg>
      <pc:sldChg chg="addSp delSp modSp add del mod">
        <pc:chgData name="Sakmann, Sebastian" userId="677db367-4fdc-4b05-993c-0f6fcad32d5a" providerId="ADAL" clId="{3CB42A73-E4F3-4135-A92D-771E84DC22B7}" dt="2024-12-10T10:56:07.980" v="4595" actId="47"/>
        <pc:sldMkLst>
          <pc:docMk/>
          <pc:sldMk cId="1117171886" sldId="2147473594"/>
        </pc:sldMkLst>
        <pc:spChg chg="mod">
          <ac:chgData name="Sakmann, Sebastian" userId="677db367-4fdc-4b05-993c-0f6fcad32d5a" providerId="ADAL" clId="{3CB42A73-E4F3-4135-A92D-771E84DC22B7}" dt="2024-12-10T10:55:52.294" v="4546" actId="948"/>
          <ac:spMkLst>
            <pc:docMk/>
            <pc:sldMk cId="1117171886" sldId="2147473594"/>
            <ac:spMk id="2" creationId="{647C6568-DFC9-53DF-851F-0D4603AC6A23}"/>
          </ac:spMkLst>
        </pc:spChg>
        <pc:spChg chg="add del mod modVis">
          <ac:chgData name="Sakmann, Sebastian" userId="677db367-4fdc-4b05-993c-0f6fcad32d5a" providerId="ADAL" clId="{3CB42A73-E4F3-4135-A92D-771E84DC22B7}" dt="2024-12-10T08:54:50.047" v="1631"/>
          <ac:spMkLst>
            <pc:docMk/>
            <pc:sldMk cId="1117171886" sldId="2147473594"/>
            <ac:spMk id="3" creationId="{E7F7D106-1208-CD0F-9AB1-BA02522BCD0C}"/>
          </ac:spMkLst>
        </pc:spChg>
        <pc:spChg chg="mod">
          <ac:chgData name="Sakmann, Sebastian" userId="677db367-4fdc-4b05-993c-0f6fcad32d5a" providerId="ADAL" clId="{3CB42A73-E4F3-4135-A92D-771E84DC22B7}" dt="2024-12-10T08:54:43.751" v="1594"/>
          <ac:spMkLst>
            <pc:docMk/>
            <pc:sldMk cId="1117171886" sldId="2147473594"/>
            <ac:spMk id="4" creationId="{277B61E8-8915-0171-B8C3-920A2792D8C1}"/>
          </ac:spMkLst>
        </pc:spChg>
        <pc:spChg chg="add del mod modVis">
          <ac:chgData name="Sakmann, Sebastian" userId="677db367-4fdc-4b05-993c-0f6fcad32d5a" providerId="ADAL" clId="{3CB42A73-E4F3-4135-A92D-771E84DC22B7}" dt="2024-12-10T10:55:41.034" v="4375"/>
          <ac:spMkLst>
            <pc:docMk/>
            <pc:sldMk cId="1117171886" sldId="2147473594"/>
            <ac:spMk id="6" creationId="{42BAD0FA-D1F5-E3D3-57F8-F22D27332822}"/>
          </ac:spMkLst>
        </pc:spChg>
        <pc:spChg chg="add del mod modVis">
          <ac:chgData name="Sakmann, Sebastian" userId="677db367-4fdc-4b05-993c-0f6fcad32d5a" providerId="ADAL" clId="{3CB42A73-E4F3-4135-A92D-771E84DC22B7}" dt="2024-12-10T10:55:42.791" v="4401"/>
          <ac:spMkLst>
            <pc:docMk/>
            <pc:sldMk cId="1117171886" sldId="2147473594"/>
            <ac:spMk id="7" creationId="{14A1CCE7-81DB-2A43-FE94-BBD5E6EC2A6D}"/>
          </ac:spMkLst>
        </pc:spChg>
        <pc:spChg chg="add del mod modVis">
          <ac:chgData name="Sakmann, Sebastian" userId="677db367-4fdc-4b05-993c-0f6fcad32d5a" providerId="ADAL" clId="{3CB42A73-E4F3-4135-A92D-771E84DC22B7}" dt="2024-12-10T10:55:44.328" v="4433"/>
          <ac:spMkLst>
            <pc:docMk/>
            <pc:sldMk cId="1117171886" sldId="2147473594"/>
            <ac:spMk id="8" creationId="{BB4FBBFB-7743-3AD7-CD85-35D7E24E364E}"/>
          </ac:spMkLst>
        </pc:spChg>
        <pc:spChg chg="mod">
          <ac:chgData name="Sakmann, Sebastian" userId="677db367-4fdc-4b05-993c-0f6fcad32d5a" providerId="ADAL" clId="{3CB42A73-E4F3-4135-A92D-771E84DC22B7}" dt="2024-12-10T10:56:02.530" v="4594" actId="20577"/>
          <ac:spMkLst>
            <pc:docMk/>
            <pc:sldMk cId="1117171886" sldId="2147473594"/>
            <ac:spMk id="9" creationId="{A52808A7-F19D-A399-2B6A-D2DA8B736C20}"/>
          </ac:spMkLst>
        </pc:spChg>
        <pc:spChg chg="add del mod modVis">
          <ac:chgData name="Sakmann, Sebastian" userId="677db367-4fdc-4b05-993c-0f6fcad32d5a" providerId="ADAL" clId="{3CB42A73-E4F3-4135-A92D-771E84DC22B7}" dt="2024-12-10T10:55:45.139" v="4459"/>
          <ac:spMkLst>
            <pc:docMk/>
            <pc:sldMk cId="1117171886" sldId="2147473594"/>
            <ac:spMk id="14" creationId="{3C16ABF0-151A-416F-78DF-5604E5D50365}"/>
          </ac:spMkLst>
        </pc:spChg>
        <pc:spChg chg="add del mod modVis">
          <ac:chgData name="Sakmann, Sebastian" userId="677db367-4fdc-4b05-993c-0f6fcad32d5a" providerId="ADAL" clId="{3CB42A73-E4F3-4135-A92D-771E84DC22B7}" dt="2024-12-10T10:55:47.139" v="4492"/>
          <ac:spMkLst>
            <pc:docMk/>
            <pc:sldMk cId="1117171886" sldId="2147473594"/>
            <ac:spMk id="19" creationId="{DC273BDD-3023-1C0F-62C3-F4AA9512B327}"/>
          </ac:spMkLst>
        </pc:spChg>
        <pc:spChg chg="add del mod modVis">
          <ac:chgData name="Sakmann, Sebastian" userId="677db367-4fdc-4b05-993c-0f6fcad32d5a" providerId="ADAL" clId="{3CB42A73-E4F3-4135-A92D-771E84DC22B7}" dt="2024-12-10T10:55:50.092" v="4529"/>
          <ac:spMkLst>
            <pc:docMk/>
            <pc:sldMk cId="1117171886" sldId="2147473594"/>
            <ac:spMk id="20" creationId="{3195ED61-B958-087D-5CBC-A9F0916EDA8D}"/>
          </ac:spMkLst>
        </pc:spChg>
        <pc:spChg chg="add del mod modVis">
          <ac:chgData name="Sakmann, Sebastian" userId="677db367-4fdc-4b05-993c-0f6fcad32d5a" providerId="ADAL" clId="{3CB42A73-E4F3-4135-A92D-771E84DC22B7}" dt="2024-12-10T10:55:52.326" v="4567"/>
          <ac:spMkLst>
            <pc:docMk/>
            <pc:sldMk cId="1117171886" sldId="2147473594"/>
            <ac:spMk id="21" creationId="{D14F0602-7F83-97C6-559F-F3BA08C4244F}"/>
          </ac:spMkLst>
        </pc:spChg>
        <pc:spChg chg="mod">
          <ac:chgData name="Sakmann, Sebastian" userId="677db367-4fdc-4b05-993c-0f6fcad32d5a" providerId="ADAL" clId="{3CB42A73-E4F3-4135-A92D-771E84DC22B7}" dt="2024-12-10T08:55:29.709" v="1760" actId="20577"/>
          <ac:spMkLst>
            <pc:docMk/>
            <pc:sldMk cId="1117171886" sldId="2147473594"/>
            <ac:spMk id="32" creationId="{9941EFC7-5AF0-BFF6-7B8F-083A3F5DA381}"/>
          </ac:spMkLst>
        </pc:spChg>
        <pc:spChg chg="mod">
          <ac:chgData name="Sakmann, Sebastian" userId="677db367-4fdc-4b05-993c-0f6fcad32d5a" providerId="ADAL" clId="{3CB42A73-E4F3-4135-A92D-771E84DC22B7}" dt="2024-12-10T08:55:18.384" v="1743" actId="20577"/>
          <ac:spMkLst>
            <pc:docMk/>
            <pc:sldMk cId="1117171886" sldId="2147473594"/>
            <ac:spMk id="37" creationId="{F060EC46-1356-EA69-8141-102EAC10B2C7}"/>
          </ac:spMkLst>
        </pc:spChg>
        <pc:graphicFrameChg chg="mod">
          <ac:chgData name="Sakmann, Sebastian" userId="677db367-4fdc-4b05-993c-0f6fcad32d5a" providerId="ADAL" clId="{3CB42A73-E4F3-4135-A92D-771E84DC22B7}" dt="2024-12-10T10:55:52.339" v="4569"/>
          <ac:graphicFrameMkLst>
            <pc:docMk/>
            <pc:sldMk cId="1117171886" sldId="2147473594"/>
            <ac:graphicFrameMk id="5" creationId="{D3F999C4-2BF1-A8E5-7908-ABD65FE889D4}"/>
          </ac:graphicFrameMkLst>
        </pc:graphicFrameChg>
      </pc:sldChg>
      <pc:sldChg chg="addSp delSp modSp add mod modClrScheme chgLayout">
        <pc:chgData name="Sakmann, Sebastian" userId="677db367-4fdc-4b05-993c-0f6fcad32d5a" providerId="ADAL" clId="{3CB42A73-E4F3-4135-A92D-771E84DC22B7}" dt="2024-12-10T13:39:27.594" v="6966" actId="20577"/>
        <pc:sldMkLst>
          <pc:docMk/>
          <pc:sldMk cId="530963547" sldId="2147473595"/>
        </pc:sldMkLst>
        <pc:spChg chg="mod ord">
          <ac:chgData name="Sakmann, Sebastian" userId="677db367-4fdc-4b05-993c-0f6fcad32d5a" providerId="ADAL" clId="{3CB42A73-E4F3-4135-A92D-771E84DC22B7}" dt="2024-12-10T10:42:49.201" v="3796" actId="948"/>
          <ac:spMkLst>
            <pc:docMk/>
            <pc:sldMk cId="530963547" sldId="2147473595"/>
            <ac:spMk id="2" creationId="{B59AFAA4-80A3-6927-EAA7-B168221A4368}"/>
          </ac:spMkLst>
        </pc:spChg>
        <pc:spChg chg="add mod">
          <ac:chgData name="Sakmann, Sebastian" userId="677db367-4fdc-4b05-993c-0f6fcad32d5a" providerId="ADAL" clId="{3CB42A73-E4F3-4135-A92D-771E84DC22B7}" dt="2024-12-10T10:28:58.051" v="3748" actId="1035"/>
          <ac:spMkLst>
            <pc:docMk/>
            <pc:sldMk cId="530963547" sldId="2147473595"/>
            <ac:spMk id="3" creationId="{AC062B76-0E37-7A1D-9A67-E9B3C3F5798F}"/>
          </ac:spMkLst>
        </pc:spChg>
        <pc:spChg chg="add del mod modVis">
          <ac:chgData name="Sakmann, Sebastian" userId="677db367-4fdc-4b05-993c-0f6fcad32d5a" providerId="ADAL" clId="{3CB42A73-E4F3-4135-A92D-771E84DC22B7}" dt="2024-12-10T08:56:22.025" v="1797"/>
          <ac:spMkLst>
            <pc:docMk/>
            <pc:sldMk cId="530963547" sldId="2147473595"/>
            <ac:spMk id="4" creationId="{379CFB44-1774-C13E-6016-DF45ED1AAB32}"/>
          </ac:spMkLst>
        </pc:spChg>
        <pc:spChg chg="add mod">
          <ac:chgData name="Sakmann, Sebastian" userId="677db367-4fdc-4b05-993c-0f6fcad32d5a" providerId="ADAL" clId="{3CB42A73-E4F3-4135-A92D-771E84DC22B7}" dt="2024-12-10T11:00:08.727" v="5129" actId="1076"/>
          <ac:spMkLst>
            <pc:docMk/>
            <pc:sldMk cId="530963547" sldId="2147473595"/>
            <ac:spMk id="5" creationId="{B459B1BF-E27E-3489-6ECF-228FD9508BF5}"/>
          </ac:spMkLst>
        </pc:spChg>
        <pc:spChg chg="add mod">
          <ac:chgData name="Sakmann, Sebastian" userId="677db367-4fdc-4b05-993c-0f6fcad32d5a" providerId="ADAL" clId="{3CB42A73-E4F3-4135-A92D-771E84DC22B7}" dt="2024-12-10T10:28:58.051" v="3748" actId="1035"/>
          <ac:spMkLst>
            <pc:docMk/>
            <pc:sldMk cId="530963547" sldId="2147473595"/>
            <ac:spMk id="6" creationId="{680BFEAA-F9DF-3F12-743E-85C7966C9104}"/>
          </ac:spMkLst>
        </pc:spChg>
        <pc:spChg chg="add mod">
          <ac:chgData name="Sakmann, Sebastian" userId="677db367-4fdc-4b05-993c-0f6fcad32d5a" providerId="ADAL" clId="{3CB42A73-E4F3-4135-A92D-771E84DC22B7}" dt="2024-12-10T10:28:58.051" v="3748" actId="1035"/>
          <ac:spMkLst>
            <pc:docMk/>
            <pc:sldMk cId="530963547" sldId="2147473595"/>
            <ac:spMk id="7" creationId="{6F4CB8B5-B073-EDC5-E9B5-B08F6ACAA888}"/>
          </ac:spMkLst>
        </pc:spChg>
        <pc:spChg chg="add mod">
          <ac:chgData name="Sakmann, Sebastian" userId="677db367-4fdc-4b05-993c-0f6fcad32d5a" providerId="ADAL" clId="{3CB42A73-E4F3-4135-A92D-771E84DC22B7}" dt="2024-12-10T13:39:27.594" v="6966" actId="20577"/>
          <ac:spMkLst>
            <pc:docMk/>
            <pc:sldMk cId="530963547" sldId="2147473595"/>
            <ac:spMk id="8" creationId="{BB56BFC2-9BE8-BB7C-9207-FE52F5FCA2E3}"/>
          </ac:spMkLst>
        </pc:spChg>
        <pc:spChg chg="add mod">
          <ac:chgData name="Sakmann, Sebastian" userId="677db367-4fdc-4b05-993c-0f6fcad32d5a" providerId="ADAL" clId="{3CB42A73-E4F3-4135-A92D-771E84DC22B7}" dt="2024-12-10T13:38:59.813" v="6925" actId="404"/>
          <ac:spMkLst>
            <pc:docMk/>
            <pc:sldMk cId="530963547" sldId="2147473595"/>
            <ac:spMk id="9" creationId="{8351E3C9-F702-778D-7AA0-5970933EA1C9}"/>
          </ac:spMkLst>
        </pc:spChg>
        <pc:spChg chg="add mod">
          <ac:chgData name="Sakmann, Sebastian" userId="677db367-4fdc-4b05-993c-0f6fcad32d5a" providerId="ADAL" clId="{3CB42A73-E4F3-4135-A92D-771E84DC22B7}" dt="2024-12-10T13:39:19.218" v="6953" actId="20577"/>
          <ac:spMkLst>
            <pc:docMk/>
            <pc:sldMk cId="530963547" sldId="2147473595"/>
            <ac:spMk id="10" creationId="{FEB38D7D-1286-FDBC-2BFD-130E079CE667}"/>
          </ac:spMkLst>
        </pc:spChg>
        <pc:spChg chg="add mod">
          <ac:chgData name="Sakmann, Sebastian" userId="677db367-4fdc-4b05-993c-0f6fcad32d5a" providerId="ADAL" clId="{3CB42A73-E4F3-4135-A92D-771E84DC22B7}" dt="2024-12-10T10:28:58.051" v="3748" actId="1035"/>
          <ac:spMkLst>
            <pc:docMk/>
            <pc:sldMk cId="530963547" sldId="2147473595"/>
            <ac:spMk id="11" creationId="{53556713-A788-D2FD-57E3-143634AE0CE2}"/>
          </ac:spMkLst>
        </pc:spChg>
        <pc:spChg chg="add mod">
          <ac:chgData name="Sakmann, Sebastian" userId="677db367-4fdc-4b05-993c-0f6fcad32d5a" providerId="ADAL" clId="{3CB42A73-E4F3-4135-A92D-771E84DC22B7}" dt="2024-12-10T10:28:58.051" v="3748" actId="1035"/>
          <ac:spMkLst>
            <pc:docMk/>
            <pc:sldMk cId="530963547" sldId="2147473595"/>
            <ac:spMk id="12" creationId="{5A01A77E-BF62-8DAE-2F0A-6F26C0614821}"/>
          </ac:spMkLst>
        </pc:spChg>
        <pc:spChg chg="add mod">
          <ac:chgData name="Sakmann, Sebastian" userId="677db367-4fdc-4b05-993c-0f6fcad32d5a" providerId="ADAL" clId="{3CB42A73-E4F3-4135-A92D-771E84DC22B7}" dt="2024-12-10T10:28:58.051" v="3748" actId="1035"/>
          <ac:spMkLst>
            <pc:docMk/>
            <pc:sldMk cId="530963547" sldId="2147473595"/>
            <ac:spMk id="13" creationId="{E97D1521-745E-FC4A-C6CA-C74510B11FA0}"/>
          </ac:spMkLst>
        </pc:spChg>
        <pc:spChg chg="add mod">
          <ac:chgData name="Sakmann, Sebastian" userId="677db367-4fdc-4b05-993c-0f6fcad32d5a" providerId="ADAL" clId="{3CB42A73-E4F3-4135-A92D-771E84DC22B7}" dt="2024-12-10T10:28:58.051" v="3748" actId="1035"/>
          <ac:spMkLst>
            <pc:docMk/>
            <pc:sldMk cId="530963547" sldId="2147473595"/>
            <ac:spMk id="14" creationId="{ADFCC687-ACEE-F45D-6A73-A5183782811A}"/>
          </ac:spMkLst>
        </pc:spChg>
        <pc:spChg chg="add mod">
          <ac:chgData name="Sakmann, Sebastian" userId="677db367-4fdc-4b05-993c-0f6fcad32d5a" providerId="ADAL" clId="{3CB42A73-E4F3-4135-A92D-771E84DC22B7}" dt="2024-12-10T10:28:58.051" v="3748" actId="1035"/>
          <ac:spMkLst>
            <pc:docMk/>
            <pc:sldMk cId="530963547" sldId="2147473595"/>
            <ac:spMk id="15" creationId="{243D296E-FB20-1073-AB9C-898C9683150D}"/>
          </ac:spMkLst>
        </pc:spChg>
        <pc:spChg chg="add del mod modVis">
          <ac:chgData name="Sakmann, Sebastian" userId="677db367-4fdc-4b05-993c-0f6fcad32d5a" providerId="ADAL" clId="{3CB42A73-E4F3-4135-A92D-771E84DC22B7}" dt="2024-12-10T09:04:55.428" v="2521"/>
          <ac:spMkLst>
            <pc:docMk/>
            <pc:sldMk cId="530963547" sldId="2147473595"/>
            <ac:spMk id="16" creationId="{B19CB6A4-B536-6E66-EDFA-51DD58BF66E7}"/>
          </ac:spMkLst>
        </pc:spChg>
        <pc:spChg chg="add del mod modVis">
          <ac:chgData name="Sakmann, Sebastian" userId="677db367-4fdc-4b05-993c-0f6fcad32d5a" providerId="ADAL" clId="{3CB42A73-E4F3-4135-A92D-771E84DC22B7}" dt="2024-12-10T09:05:00.996" v="2581"/>
          <ac:spMkLst>
            <pc:docMk/>
            <pc:sldMk cId="530963547" sldId="2147473595"/>
            <ac:spMk id="17" creationId="{A5DFDBF4-4947-9C1F-2ED4-CC9FB68721BB}"/>
          </ac:spMkLst>
        </pc:spChg>
        <pc:spChg chg="add del mod modVis">
          <ac:chgData name="Sakmann, Sebastian" userId="677db367-4fdc-4b05-993c-0f6fcad32d5a" providerId="ADAL" clId="{3CB42A73-E4F3-4135-A92D-771E84DC22B7}" dt="2024-12-10T09:05:02.528" v="2615"/>
          <ac:spMkLst>
            <pc:docMk/>
            <pc:sldMk cId="530963547" sldId="2147473595"/>
            <ac:spMk id="18" creationId="{2917AF03-58FC-F973-3CE1-3CE45A87CDA3}"/>
          </ac:spMkLst>
        </pc:spChg>
        <pc:spChg chg="add del mod modVis">
          <ac:chgData name="Sakmann, Sebastian" userId="677db367-4fdc-4b05-993c-0f6fcad32d5a" providerId="ADAL" clId="{3CB42A73-E4F3-4135-A92D-771E84DC22B7}" dt="2024-12-10T09:05:04.632" v="2650"/>
          <ac:spMkLst>
            <pc:docMk/>
            <pc:sldMk cId="530963547" sldId="2147473595"/>
            <ac:spMk id="19" creationId="{5168565A-ED23-B769-BECB-160E297CFE7D}"/>
          </ac:spMkLst>
        </pc:spChg>
        <pc:spChg chg="add del mod ord">
          <ac:chgData name="Sakmann, Sebastian" userId="677db367-4fdc-4b05-993c-0f6fcad32d5a" providerId="ADAL" clId="{3CB42A73-E4F3-4135-A92D-771E84DC22B7}" dt="2024-12-10T10:42:53.758" v="3820" actId="478"/>
          <ac:spMkLst>
            <pc:docMk/>
            <pc:sldMk cId="530963547" sldId="2147473595"/>
            <ac:spMk id="20" creationId="{4BBF093B-C00B-1B91-319D-75BDBA0BD5CF}"/>
          </ac:spMkLst>
        </pc:spChg>
        <pc:spChg chg="add del mod modVis">
          <ac:chgData name="Sakmann, Sebastian" userId="677db367-4fdc-4b05-993c-0f6fcad32d5a" providerId="ADAL" clId="{3CB42A73-E4F3-4135-A92D-771E84DC22B7}" dt="2024-12-10T10:42:49.260" v="3817"/>
          <ac:spMkLst>
            <pc:docMk/>
            <pc:sldMk cId="530963547" sldId="2147473595"/>
            <ac:spMk id="21" creationId="{59E126EE-8B80-2E10-32B1-38CA195B6059}"/>
          </ac:spMkLst>
        </pc:spChg>
        <pc:spChg chg="del">
          <ac:chgData name="Sakmann, Sebastian" userId="677db367-4fdc-4b05-993c-0f6fcad32d5a" providerId="ADAL" clId="{3CB42A73-E4F3-4135-A92D-771E84DC22B7}" dt="2024-12-10T08:29:52.702" v="12" actId="478"/>
          <ac:spMkLst>
            <pc:docMk/>
            <pc:sldMk cId="530963547" sldId="2147473595"/>
            <ac:spMk id="89" creationId="{CCCC09A8-4A7E-4E6B-4AE5-11F8FA88AE75}"/>
          </ac:spMkLst>
        </pc:spChg>
        <pc:spChg chg="del">
          <ac:chgData name="Sakmann, Sebastian" userId="677db367-4fdc-4b05-993c-0f6fcad32d5a" providerId="ADAL" clId="{3CB42A73-E4F3-4135-A92D-771E84DC22B7}" dt="2024-12-10T08:29:52.702" v="12" actId="478"/>
          <ac:spMkLst>
            <pc:docMk/>
            <pc:sldMk cId="530963547" sldId="2147473595"/>
            <ac:spMk id="90" creationId="{0D18D845-28E7-4AF5-F175-9CDD27AD92A9}"/>
          </ac:spMkLst>
        </pc:spChg>
        <pc:spChg chg="del">
          <ac:chgData name="Sakmann, Sebastian" userId="677db367-4fdc-4b05-993c-0f6fcad32d5a" providerId="ADAL" clId="{3CB42A73-E4F3-4135-A92D-771E84DC22B7}" dt="2024-12-10T08:29:52.702" v="12" actId="478"/>
          <ac:spMkLst>
            <pc:docMk/>
            <pc:sldMk cId="530963547" sldId="2147473595"/>
            <ac:spMk id="91" creationId="{0FDE4F46-712D-E9A3-1454-C791E1BDEC26}"/>
          </ac:spMkLst>
        </pc:spChg>
        <pc:spChg chg="del">
          <ac:chgData name="Sakmann, Sebastian" userId="677db367-4fdc-4b05-993c-0f6fcad32d5a" providerId="ADAL" clId="{3CB42A73-E4F3-4135-A92D-771E84DC22B7}" dt="2024-12-10T08:29:52.702" v="12" actId="478"/>
          <ac:spMkLst>
            <pc:docMk/>
            <pc:sldMk cId="530963547" sldId="2147473595"/>
            <ac:spMk id="92" creationId="{74F918DE-2E4C-FBC6-3859-1338F794A743}"/>
          </ac:spMkLst>
        </pc:spChg>
        <pc:spChg chg="del">
          <ac:chgData name="Sakmann, Sebastian" userId="677db367-4fdc-4b05-993c-0f6fcad32d5a" providerId="ADAL" clId="{3CB42A73-E4F3-4135-A92D-771E84DC22B7}" dt="2024-12-10T08:29:52.702" v="12" actId="478"/>
          <ac:spMkLst>
            <pc:docMk/>
            <pc:sldMk cId="530963547" sldId="2147473595"/>
            <ac:spMk id="93" creationId="{82E32013-B5B7-271C-45F6-5D3E11547CE1}"/>
          </ac:spMkLst>
        </pc:spChg>
        <pc:spChg chg="del">
          <ac:chgData name="Sakmann, Sebastian" userId="677db367-4fdc-4b05-993c-0f6fcad32d5a" providerId="ADAL" clId="{3CB42A73-E4F3-4135-A92D-771E84DC22B7}" dt="2024-12-10T08:29:52.702" v="12" actId="478"/>
          <ac:spMkLst>
            <pc:docMk/>
            <pc:sldMk cId="530963547" sldId="2147473595"/>
            <ac:spMk id="94" creationId="{1B77B3A0-0EA2-1D02-8008-8805FCB49226}"/>
          </ac:spMkLst>
        </pc:spChg>
        <pc:spChg chg="del">
          <ac:chgData name="Sakmann, Sebastian" userId="677db367-4fdc-4b05-993c-0f6fcad32d5a" providerId="ADAL" clId="{3CB42A73-E4F3-4135-A92D-771E84DC22B7}" dt="2024-12-10T08:29:52.702" v="12" actId="478"/>
          <ac:spMkLst>
            <pc:docMk/>
            <pc:sldMk cId="530963547" sldId="2147473595"/>
            <ac:spMk id="95" creationId="{FF0949D0-03FA-A84F-E460-8F9601BD3A2E}"/>
          </ac:spMkLst>
        </pc:spChg>
        <pc:spChg chg="del">
          <ac:chgData name="Sakmann, Sebastian" userId="677db367-4fdc-4b05-993c-0f6fcad32d5a" providerId="ADAL" clId="{3CB42A73-E4F3-4135-A92D-771E84DC22B7}" dt="2024-12-10T08:29:52.702" v="12" actId="478"/>
          <ac:spMkLst>
            <pc:docMk/>
            <pc:sldMk cId="530963547" sldId="2147473595"/>
            <ac:spMk id="96" creationId="{B2123591-805B-E324-6D6D-F76F1719EC86}"/>
          </ac:spMkLst>
        </pc:spChg>
        <pc:spChg chg="del">
          <ac:chgData name="Sakmann, Sebastian" userId="677db367-4fdc-4b05-993c-0f6fcad32d5a" providerId="ADAL" clId="{3CB42A73-E4F3-4135-A92D-771E84DC22B7}" dt="2024-12-10T08:29:52.702" v="12" actId="478"/>
          <ac:spMkLst>
            <pc:docMk/>
            <pc:sldMk cId="530963547" sldId="2147473595"/>
            <ac:spMk id="97" creationId="{70E123D5-BCF8-3A67-EE34-0ED0C27EB3D7}"/>
          </ac:spMkLst>
        </pc:spChg>
        <pc:spChg chg="del">
          <ac:chgData name="Sakmann, Sebastian" userId="677db367-4fdc-4b05-993c-0f6fcad32d5a" providerId="ADAL" clId="{3CB42A73-E4F3-4135-A92D-771E84DC22B7}" dt="2024-12-10T08:29:52.702" v="12" actId="478"/>
          <ac:spMkLst>
            <pc:docMk/>
            <pc:sldMk cId="530963547" sldId="2147473595"/>
            <ac:spMk id="98" creationId="{1B97E9DC-0DFC-5A55-B060-C13151B76B7A}"/>
          </ac:spMkLst>
        </pc:spChg>
        <pc:spChg chg="del">
          <ac:chgData name="Sakmann, Sebastian" userId="677db367-4fdc-4b05-993c-0f6fcad32d5a" providerId="ADAL" clId="{3CB42A73-E4F3-4135-A92D-771E84DC22B7}" dt="2024-12-10T08:29:52.702" v="12" actId="478"/>
          <ac:spMkLst>
            <pc:docMk/>
            <pc:sldMk cId="530963547" sldId="2147473595"/>
            <ac:spMk id="99" creationId="{E3EE049D-C213-5124-8C32-7AF7813D8B4C}"/>
          </ac:spMkLst>
        </pc:spChg>
        <pc:spChg chg="del">
          <ac:chgData name="Sakmann, Sebastian" userId="677db367-4fdc-4b05-993c-0f6fcad32d5a" providerId="ADAL" clId="{3CB42A73-E4F3-4135-A92D-771E84DC22B7}" dt="2024-12-10T08:29:52.702" v="12" actId="478"/>
          <ac:spMkLst>
            <pc:docMk/>
            <pc:sldMk cId="530963547" sldId="2147473595"/>
            <ac:spMk id="100" creationId="{55FD517C-17AB-6DB3-10B3-54D03ED95923}"/>
          </ac:spMkLst>
        </pc:spChg>
        <pc:spChg chg="del">
          <ac:chgData name="Sakmann, Sebastian" userId="677db367-4fdc-4b05-993c-0f6fcad32d5a" providerId="ADAL" clId="{3CB42A73-E4F3-4135-A92D-771E84DC22B7}" dt="2024-12-10T08:29:52.702" v="12" actId="478"/>
          <ac:spMkLst>
            <pc:docMk/>
            <pc:sldMk cId="530963547" sldId="2147473595"/>
            <ac:spMk id="101" creationId="{49465F14-F6A3-E548-3196-67D6D6B24EA3}"/>
          </ac:spMkLst>
        </pc:spChg>
        <pc:spChg chg="del">
          <ac:chgData name="Sakmann, Sebastian" userId="677db367-4fdc-4b05-993c-0f6fcad32d5a" providerId="ADAL" clId="{3CB42A73-E4F3-4135-A92D-771E84DC22B7}" dt="2024-12-10T08:29:52.702" v="12" actId="478"/>
          <ac:spMkLst>
            <pc:docMk/>
            <pc:sldMk cId="530963547" sldId="2147473595"/>
            <ac:spMk id="102" creationId="{233EE5AC-6DDA-D81E-4BC1-4E47FAC95B41}"/>
          </ac:spMkLst>
        </pc:spChg>
        <pc:spChg chg="del">
          <ac:chgData name="Sakmann, Sebastian" userId="677db367-4fdc-4b05-993c-0f6fcad32d5a" providerId="ADAL" clId="{3CB42A73-E4F3-4135-A92D-771E84DC22B7}" dt="2024-12-10T08:29:52.702" v="12" actId="478"/>
          <ac:spMkLst>
            <pc:docMk/>
            <pc:sldMk cId="530963547" sldId="2147473595"/>
            <ac:spMk id="103" creationId="{1BB552D2-1BB4-059E-2A86-6FB7B58EF483}"/>
          </ac:spMkLst>
        </pc:spChg>
        <pc:spChg chg="del">
          <ac:chgData name="Sakmann, Sebastian" userId="677db367-4fdc-4b05-993c-0f6fcad32d5a" providerId="ADAL" clId="{3CB42A73-E4F3-4135-A92D-771E84DC22B7}" dt="2024-12-10T08:29:59.908" v="13" actId="478"/>
          <ac:spMkLst>
            <pc:docMk/>
            <pc:sldMk cId="530963547" sldId="2147473595"/>
            <ac:spMk id="104" creationId="{A51D6E82-BE3A-66A2-B5D5-54CDB53B2381}"/>
          </ac:spMkLst>
        </pc:spChg>
        <pc:spChg chg="del">
          <ac:chgData name="Sakmann, Sebastian" userId="677db367-4fdc-4b05-993c-0f6fcad32d5a" providerId="ADAL" clId="{3CB42A73-E4F3-4135-A92D-771E84DC22B7}" dt="2024-12-10T08:29:59.908" v="13" actId="478"/>
          <ac:spMkLst>
            <pc:docMk/>
            <pc:sldMk cId="530963547" sldId="2147473595"/>
            <ac:spMk id="105" creationId="{27A972EB-E99A-CC62-581D-ADC8824C50B4}"/>
          </ac:spMkLst>
        </pc:spChg>
        <pc:spChg chg="del">
          <ac:chgData name="Sakmann, Sebastian" userId="677db367-4fdc-4b05-993c-0f6fcad32d5a" providerId="ADAL" clId="{3CB42A73-E4F3-4135-A92D-771E84DC22B7}" dt="2024-12-10T08:29:59.908" v="13" actId="478"/>
          <ac:spMkLst>
            <pc:docMk/>
            <pc:sldMk cId="530963547" sldId="2147473595"/>
            <ac:spMk id="106" creationId="{2704BFDC-9A35-4197-79CF-99CF32B94384}"/>
          </ac:spMkLst>
        </pc:spChg>
        <pc:spChg chg="del">
          <ac:chgData name="Sakmann, Sebastian" userId="677db367-4fdc-4b05-993c-0f6fcad32d5a" providerId="ADAL" clId="{3CB42A73-E4F3-4135-A92D-771E84DC22B7}" dt="2024-12-10T08:29:59.908" v="13" actId="478"/>
          <ac:spMkLst>
            <pc:docMk/>
            <pc:sldMk cId="530963547" sldId="2147473595"/>
            <ac:spMk id="108" creationId="{AFFC3DC5-138A-28BF-9CBE-A9E77F23E2E6}"/>
          </ac:spMkLst>
        </pc:spChg>
        <pc:spChg chg="mod">
          <ac:chgData name="Sakmann, Sebastian" userId="677db367-4fdc-4b05-993c-0f6fcad32d5a" providerId="ADAL" clId="{3CB42A73-E4F3-4135-A92D-771E84DC22B7}" dt="2024-12-10T10:28:58.051" v="3748" actId="1035"/>
          <ac:spMkLst>
            <pc:docMk/>
            <pc:sldMk cId="530963547" sldId="2147473595"/>
            <ac:spMk id="109" creationId="{8EF605D7-71CB-506B-9C36-E266B74AB017}"/>
          </ac:spMkLst>
        </pc:spChg>
        <pc:spChg chg="mod">
          <ac:chgData name="Sakmann, Sebastian" userId="677db367-4fdc-4b05-993c-0f6fcad32d5a" providerId="ADAL" clId="{3CB42A73-E4F3-4135-A92D-771E84DC22B7}" dt="2024-12-10T10:28:58.051" v="3748" actId="1035"/>
          <ac:spMkLst>
            <pc:docMk/>
            <pc:sldMk cId="530963547" sldId="2147473595"/>
            <ac:spMk id="110" creationId="{F6631214-AF0E-5447-3183-4E09A000C2C6}"/>
          </ac:spMkLst>
        </pc:spChg>
        <pc:spChg chg="mod">
          <ac:chgData name="Sakmann, Sebastian" userId="677db367-4fdc-4b05-993c-0f6fcad32d5a" providerId="ADAL" clId="{3CB42A73-E4F3-4135-A92D-771E84DC22B7}" dt="2024-12-10T10:28:58.051" v="3748" actId="1035"/>
          <ac:spMkLst>
            <pc:docMk/>
            <pc:sldMk cId="530963547" sldId="2147473595"/>
            <ac:spMk id="111" creationId="{EF446D3B-78D0-FBD4-C2B8-0585167BC9E1}"/>
          </ac:spMkLst>
        </pc:spChg>
        <pc:spChg chg="mod">
          <ac:chgData name="Sakmann, Sebastian" userId="677db367-4fdc-4b05-993c-0f6fcad32d5a" providerId="ADAL" clId="{3CB42A73-E4F3-4135-A92D-771E84DC22B7}" dt="2024-12-10T10:28:58.051" v="3748" actId="1035"/>
          <ac:spMkLst>
            <pc:docMk/>
            <pc:sldMk cId="530963547" sldId="2147473595"/>
            <ac:spMk id="112" creationId="{A279F28F-211D-848E-7F59-976358D95F16}"/>
          </ac:spMkLst>
        </pc:spChg>
        <pc:spChg chg="mod">
          <ac:chgData name="Sakmann, Sebastian" userId="677db367-4fdc-4b05-993c-0f6fcad32d5a" providerId="ADAL" clId="{3CB42A73-E4F3-4135-A92D-771E84DC22B7}" dt="2024-12-10T10:28:58.051" v="3748" actId="1035"/>
          <ac:spMkLst>
            <pc:docMk/>
            <pc:sldMk cId="530963547" sldId="2147473595"/>
            <ac:spMk id="113" creationId="{38F71E93-0188-1145-4A51-B831E251B8F4}"/>
          </ac:spMkLst>
        </pc:spChg>
        <pc:spChg chg="del">
          <ac:chgData name="Sakmann, Sebastian" userId="677db367-4fdc-4b05-993c-0f6fcad32d5a" providerId="ADAL" clId="{3CB42A73-E4F3-4135-A92D-771E84DC22B7}" dt="2024-12-10T08:29:59.908" v="13" actId="478"/>
          <ac:spMkLst>
            <pc:docMk/>
            <pc:sldMk cId="530963547" sldId="2147473595"/>
            <ac:spMk id="119" creationId="{DEAF6A29-E952-BD8A-5076-1B9A987E5F4C}"/>
          </ac:spMkLst>
        </pc:spChg>
        <pc:spChg chg="del">
          <ac:chgData name="Sakmann, Sebastian" userId="677db367-4fdc-4b05-993c-0f6fcad32d5a" providerId="ADAL" clId="{3CB42A73-E4F3-4135-A92D-771E84DC22B7}" dt="2024-12-10T08:29:59.908" v="13" actId="478"/>
          <ac:spMkLst>
            <pc:docMk/>
            <pc:sldMk cId="530963547" sldId="2147473595"/>
            <ac:spMk id="120" creationId="{29A68F4A-515B-4173-E5C9-B33401ABE02A}"/>
          </ac:spMkLst>
        </pc:spChg>
        <pc:spChg chg="del">
          <ac:chgData name="Sakmann, Sebastian" userId="677db367-4fdc-4b05-993c-0f6fcad32d5a" providerId="ADAL" clId="{3CB42A73-E4F3-4135-A92D-771E84DC22B7}" dt="2024-12-10T08:29:52.702" v="12" actId="478"/>
          <ac:spMkLst>
            <pc:docMk/>
            <pc:sldMk cId="530963547" sldId="2147473595"/>
            <ac:spMk id="121" creationId="{BDD592B6-C585-D925-2251-1147F095D89B}"/>
          </ac:spMkLst>
        </pc:spChg>
        <pc:spChg chg="del">
          <ac:chgData name="Sakmann, Sebastian" userId="677db367-4fdc-4b05-993c-0f6fcad32d5a" providerId="ADAL" clId="{3CB42A73-E4F3-4135-A92D-771E84DC22B7}" dt="2024-12-10T08:29:52.702" v="12" actId="478"/>
          <ac:spMkLst>
            <pc:docMk/>
            <pc:sldMk cId="530963547" sldId="2147473595"/>
            <ac:spMk id="122" creationId="{32DBDCDC-9E1B-B039-E62F-7AB40D8D6E0B}"/>
          </ac:spMkLst>
        </pc:spChg>
        <pc:spChg chg="del">
          <ac:chgData name="Sakmann, Sebastian" userId="677db367-4fdc-4b05-993c-0f6fcad32d5a" providerId="ADAL" clId="{3CB42A73-E4F3-4135-A92D-771E84DC22B7}" dt="2024-12-10T08:29:52.702" v="12" actId="478"/>
          <ac:spMkLst>
            <pc:docMk/>
            <pc:sldMk cId="530963547" sldId="2147473595"/>
            <ac:spMk id="123" creationId="{AD94976B-44F6-4EFC-7259-141492CD05DA}"/>
          </ac:spMkLst>
        </pc:spChg>
        <pc:spChg chg="del">
          <ac:chgData name="Sakmann, Sebastian" userId="677db367-4fdc-4b05-993c-0f6fcad32d5a" providerId="ADAL" clId="{3CB42A73-E4F3-4135-A92D-771E84DC22B7}" dt="2024-12-10T08:29:52.702" v="12" actId="478"/>
          <ac:spMkLst>
            <pc:docMk/>
            <pc:sldMk cId="530963547" sldId="2147473595"/>
            <ac:spMk id="124" creationId="{0ECFFF23-C7E8-6D22-D383-AA6E1B766D99}"/>
          </ac:spMkLst>
        </pc:spChg>
        <pc:spChg chg="del">
          <ac:chgData name="Sakmann, Sebastian" userId="677db367-4fdc-4b05-993c-0f6fcad32d5a" providerId="ADAL" clId="{3CB42A73-E4F3-4135-A92D-771E84DC22B7}" dt="2024-12-10T08:29:52.702" v="12" actId="478"/>
          <ac:spMkLst>
            <pc:docMk/>
            <pc:sldMk cId="530963547" sldId="2147473595"/>
            <ac:spMk id="126" creationId="{92CBCFF4-BB62-B2B0-4A5E-4152B7DA7430}"/>
          </ac:spMkLst>
        </pc:spChg>
        <pc:graphicFrameChg chg="mod">
          <ac:chgData name="Sakmann, Sebastian" userId="677db367-4fdc-4b05-993c-0f6fcad32d5a" providerId="ADAL" clId="{3CB42A73-E4F3-4135-A92D-771E84DC22B7}" dt="2024-12-10T10:42:49.262" v="3819"/>
          <ac:graphicFrameMkLst>
            <pc:docMk/>
            <pc:sldMk cId="530963547" sldId="2147473595"/>
            <ac:graphicFrameMk id="83" creationId="{EF7FCE15-1C33-5BD9-5A18-3B91B8225932}"/>
          </ac:graphicFrameMkLst>
        </pc:graphicFrameChg>
        <pc:cxnChg chg="del mod">
          <ac:chgData name="Sakmann, Sebastian" userId="677db367-4fdc-4b05-993c-0f6fcad32d5a" providerId="ADAL" clId="{3CB42A73-E4F3-4135-A92D-771E84DC22B7}" dt="2024-12-10T08:29:59.908" v="13" actId="478"/>
          <ac:cxnSpMkLst>
            <pc:docMk/>
            <pc:sldMk cId="530963547" sldId="2147473595"/>
            <ac:cxnSpMk id="107" creationId="{56FFD3F2-8A09-0470-F905-899D7285D787}"/>
          </ac:cxnSpMkLst>
        </pc:cxnChg>
        <pc:cxnChg chg="del">
          <ac:chgData name="Sakmann, Sebastian" userId="677db367-4fdc-4b05-993c-0f6fcad32d5a" providerId="ADAL" clId="{3CB42A73-E4F3-4135-A92D-771E84DC22B7}" dt="2024-12-10T08:29:59.908" v="13" actId="478"/>
          <ac:cxnSpMkLst>
            <pc:docMk/>
            <pc:sldMk cId="530963547" sldId="2147473595"/>
            <ac:cxnSpMk id="114" creationId="{A2A093F7-C019-3291-89D7-60A149B517D2}"/>
          </ac:cxnSpMkLst>
        </pc:cxnChg>
        <pc:cxnChg chg="del mod">
          <ac:chgData name="Sakmann, Sebastian" userId="677db367-4fdc-4b05-993c-0f6fcad32d5a" providerId="ADAL" clId="{3CB42A73-E4F3-4135-A92D-771E84DC22B7}" dt="2024-12-10T08:30:04.386" v="14" actId="478"/>
          <ac:cxnSpMkLst>
            <pc:docMk/>
            <pc:sldMk cId="530963547" sldId="2147473595"/>
            <ac:cxnSpMk id="115" creationId="{5362FA64-D0F0-F500-44EE-255DE98E00A9}"/>
          </ac:cxnSpMkLst>
        </pc:cxnChg>
        <pc:cxnChg chg="del mod">
          <ac:chgData name="Sakmann, Sebastian" userId="677db367-4fdc-4b05-993c-0f6fcad32d5a" providerId="ADAL" clId="{3CB42A73-E4F3-4135-A92D-771E84DC22B7}" dt="2024-12-10T08:30:04.386" v="14" actId="478"/>
          <ac:cxnSpMkLst>
            <pc:docMk/>
            <pc:sldMk cId="530963547" sldId="2147473595"/>
            <ac:cxnSpMk id="116" creationId="{17C704B7-3FB2-3DC1-D069-FC290B811E18}"/>
          </ac:cxnSpMkLst>
        </pc:cxnChg>
        <pc:cxnChg chg="del mod">
          <ac:chgData name="Sakmann, Sebastian" userId="677db367-4fdc-4b05-993c-0f6fcad32d5a" providerId="ADAL" clId="{3CB42A73-E4F3-4135-A92D-771E84DC22B7}" dt="2024-12-10T08:30:04.386" v="14" actId="478"/>
          <ac:cxnSpMkLst>
            <pc:docMk/>
            <pc:sldMk cId="530963547" sldId="2147473595"/>
            <ac:cxnSpMk id="117" creationId="{F519637F-5BE3-69EF-EFA7-2EB83B5B8EED}"/>
          </ac:cxnSpMkLst>
        </pc:cxnChg>
        <pc:cxnChg chg="del mod">
          <ac:chgData name="Sakmann, Sebastian" userId="677db367-4fdc-4b05-993c-0f6fcad32d5a" providerId="ADAL" clId="{3CB42A73-E4F3-4135-A92D-771E84DC22B7}" dt="2024-12-10T08:30:04.386" v="14" actId="478"/>
          <ac:cxnSpMkLst>
            <pc:docMk/>
            <pc:sldMk cId="530963547" sldId="2147473595"/>
            <ac:cxnSpMk id="118" creationId="{839CF400-0008-B8C6-396E-14AD11315824}"/>
          </ac:cxnSpMkLst>
        </pc:cxnChg>
        <pc:cxnChg chg="del mod">
          <ac:chgData name="Sakmann, Sebastian" userId="677db367-4fdc-4b05-993c-0f6fcad32d5a" providerId="ADAL" clId="{3CB42A73-E4F3-4135-A92D-771E84DC22B7}" dt="2024-12-10T08:29:59.908" v="13" actId="478"/>
          <ac:cxnSpMkLst>
            <pc:docMk/>
            <pc:sldMk cId="530963547" sldId="2147473595"/>
            <ac:cxnSpMk id="125" creationId="{6EC9D297-24FC-504C-7A43-DDF9C35DEE36}"/>
          </ac:cxnSpMkLst>
        </pc:cxnChg>
        <pc:cxnChg chg="del mod">
          <ac:chgData name="Sakmann, Sebastian" userId="677db367-4fdc-4b05-993c-0f6fcad32d5a" providerId="ADAL" clId="{3CB42A73-E4F3-4135-A92D-771E84DC22B7}" dt="2024-12-10T08:29:59.908" v="13" actId="478"/>
          <ac:cxnSpMkLst>
            <pc:docMk/>
            <pc:sldMk cId="530963547" sldId="2147473595"/>
            <ac:cxnSpMk id="127" creationId="{13CB1215-BED2-8045-1530-51A3236C9634}"/>
          </ac:cxnSpMkLst>
        </pc:cxnChg>
      </pc:sldChg>
      <pc:sldChg chg="addSp delSp modSp del mod ord">
        <pc:chgData name="Sakmann, Sebastian" userId="677db367-4fdc-4b05-993c-0f6fcad32d5a" providerId="ADAL" clId="{3CB42A73-E4F3-4135-A92D-771E84DC22B7}" dt="2024-12-10T08:43:17.870" v="1333" actId="47"/>
        <pc:sldMkLst>
          <pc:docMk/>
          <pc:sldMk cId="87288147" sldId="2147473599"/>
        </pc:sldMkLst>
        <pc:spChg chg="mod">
          <ac:chgData name="Sakmann, Sebastian" userId="677db367-4fdc-4b05-993c-0f6fcad32d5a" providerId="ADAL" clId="{3CB42A73-E4F3-4135-A92D-771E84DC22B7}" dt="2024-12-10T08:35:56.521" v="831" actId="948"/>
          <ac:spMkLst>
            <pc:docMk/>
            <pc:sldMk cId="87288147" sldId="2147473599"/>
            <ac:spMk id="2" creationId="{0CAAC848-AA1F-76A5-1329-1F8547DD12D3}"/>
          </ac:spMkLst>
        </pc:spChg>
        <pc:spChg chg="add del mod modVis">
          <ac:chgData name="Sakmann, Sebastian" userId="677db367-4fdc-4b05-993c-0f6fcad32d5a" providerId="ADAL" clId="{3CB42A73-E4F3-4135-A92D-771E84DC22B7}" dt="2024-12-10T08:35:26.097" v="625"/>
          <ac:spMkLst>
            <pc:docMk/>
            <pc:sldMk cId="87288147" sldId="2147473599"/>
            <ac:spMk id="6" creationId="{145B3512-C133-115F-1E0E-46492BB5DC0A}"/>
          </ac:spMkLst>
        </pc:spChg>
        <pc:spChg chg="add del mod modVis">
          <ac:chgData name="Sakmann, Sebastian" userId="677db367-4fdc-4b05-993c-0f6fcad32d5a" providerId="ADAL" clId="{3CB42A73-E4F3-4135-A92D-771E84DC22B7}" dt="2024-12-10T08:35:26.714" v="651"/>
          <ac:spMkLst>
            <pc:docMk/>
            <pc:sldMk cId="87288147" sldId="2147473599"/>
            <ac:spMk id="7" creationId="{46B1DA51-1B52-526F-44B8-C44DE4201096}"/>
          </ac:spMkLst>
        </pc:spChg>
        <pc:spChg chg="add del mod modVis">
          <ac:chgData name="Sakmann, Sebastian" userId="677db367-4fdc-4b05-993c-0f6fcad32d5a" providerId="ADAL" clId="{3CB42A73-E4F3-4135-A92D-771E84DC22B7}" dt="2024-12-10T08:35:28.930" v="685"/>
          <ac:spMkLst>
            <pc:docMk/>
            <pc:sldMk cId="87288147" sldId="2147473599"/>
            <ac:spMk id="8" creationId="{6B42068A-0DA9-98D2-C983-262F2BC9EE3B}"/>
          </ac:spMkLst>
        </pc:spChg>
        <pc:spChg chg="add del mod modVis">
          <ac:chgData name="Sakmann, Sebastian" userId="677db367-4fdc-4b05-993c-0f6fcad32d5a" providerId="ADAL" clId="{3CB42A73-E4F3-4135-A92D-771E84DC22B7}" dt="2024-12-10T08:35:34.373" v="743"/>
          <ac:spMkLst>
            <pc:docMk/>
            <pc:sldMk cId="87288147" sldId="2147473599"/>
            <ac:spMk id="10" creationId="{AD9C5440-F9F3-AC9E-8278-222B0E4AD0C9}"/>
          </ac:spMkLst>
        </pc:spChg>
        <pc:spChg chg="add del mod modVis">
          <ac:chgData name="Sakmann, Sebastian" userId="677db367-4fdc-4b05-993c-0f6fcad32d5a" providerId="ADAL" clId="{3CB42A73-E4F3-4135-A92D-771E84DC22B7}" dt="2024-12-10T08:35:38.898" v="777"/>
          <ac:spMkLst>
            <pc:docMk/>
            <pc:sldMk cId="87288147" sldId="2147473599"/>
            <ac:spMk id="11" creationId="{BBE63B2E-53E5-E613-697E-487325F8BF9D}"/>
          </ac:spMkLst>
        </pc:spChg>
        <pc:spChg chg="add del mod modVis">
          <ac:chgData name="Sakmann, Sebastian" userId="677db367-4fdc-4b05-993c-0f6fcad32d5a" providerId="ADAL" clId="{3CB42A73-E4F3-4135-A92D-771E84DC22B7}" dt="2024-12-10T08:35:47.192" v="802"/>
          <ac:spMkLst>
            <pc:docMk/>
            <pc:sldMk cId="87288147" sldId="2147473599"/>
            <ac:spMk id="12" creationId="{5BD6C1FC-84BC-292D-7F52-B6575442E833}"/>
          </ac:spMkLst>
        </pc:spChg>
        <pc:spChg chg="add del mod modVis">
          <ac:chgData name="Sakmann, Sebastian" userId="677db367-4fdc-4b05-993c-0f6fcad32d5a" providerId="ADAL" clId="{3CB42A73-E4F3-4135-A92D-771E84DC22B7}" dt="2024-12-10T08:35:53.228" v="827"/>
          <ac:spMkLst>
            <pc:docMk/>
            <pc:sldMk cId="87288147" sldId="2147473599"/>
            <ac:spMk id="13" creationId="{3038CEF1-B232-6665-13D5-1F68A773D53E}"/>
          </ac:spMkLst>
        </pc:spChg>
        <pc:spChg chg="add del mod modVis">
          <ac:chgData name="Sakmann, Sebastian" userId="677db367-4fdc-4b05-993c-0f6fcad32d5a" providerId="ADAL" clId="{3CB42A73-E4F3-4135-A92D-771E84DC22B7}" dt="2024-12-10T08:35:56.569" v="852"/>
          <ac:spMkLst>
            <pc:docMk/>
            <pc:sldMk cId="87288147" sldId="2147473599"/>
            <ac:spMk id="15" creationId="{92903ACB-6818-4052-5A98-D156D03C36D8}"/>
          </ac:spMkLst>
        </pc:spChg>
        <pc:graphicFrameChg chg="mod">
          <ac:chgData name="Sakmann, Sebastian" userId="677db367-4fdc-4b05-993c-0f6fcad32d5a" providerId="ADAL" clId="{3CB42A73-E4F3-4135-A92D-771E84DC22B7}" dt="2024-12-10T08:35:56.569" v="854"/>
          <ac:graphicFrameMkLst>
            <pc:docMk/>
            <pc:sldMk cId="87288147" sldId="2147473599"/>
            <ac:graphicFrameMk id="5" creationId="{1C78886E-9DDE-B887-9DB1-ABE9E31E26A0}"/>
          </ac:graphicFrameMkLst>
        </pc:graphicFrameChg>
      </pc:sldChg>
      <pc:sldChg chg="new del">
        <pc:chgData name="Sakmann, Sebastian" userId="677db367-4fdc-4b05-993c-0f6fcad32d5a" providerId="ADAL" clId="{3CB42A73-E4F3-4135-A92D-771E84DC22B7}" dt="2024-12-10T08:32:51.586" v="306" actId="47"/>
        <pc:sldMkLst>
          <pc:docMk/>
          <pc:sldMk cId="4011021085" sldId="2147473600"/>
        </pc:sldMkLst>
      </pc:sldChg>
      <pc:sldChg chg="addSp delSp modSp new del mod modClrScheme chgLayout">
        <pc:chgData name="Sakmann, Sebastian" userId="677db367-4fdc-4b05-993c-0f6fcad32d5a" providerId="ADAL" clId="{3CB42A73-E4F3-4135-A92D-771E84DC22B7}" dt="2024-12-10T08:56:37.170" v="1862" actId="47"/>
        <pc:sldMkLst>
          <pc:docMk/>
          <pc:sldMk cId="1834943312" sldId="2147473601"/>
        </pc:sldMkLst>
        <pc:spChg chg="del mod ord">
          <ac:chgData name="Sakmann, Sebastian" userId="677db367-4fdc-4b05-993c-0f6fcad32d5a" providerId="ADAL" clId="{3CB42A73-E4F3-4135-A92D-771E84DC22B7}" dt="2024-12-10T08:32:42.288" v="210" actId="700"/>
          <ac:spMkLst>
            <pc:docMk/>
            <pc:sldMk cId="1834943312" sldId="2147473601"/>
            <ac:spMk id="2" creationId="{6DB90DAB-0C34-7149-48F8-9985B09DB6B9}"/>
          </ac:spMkLst>
        </pc:spChg>
        <pc:spChg chg="del mod ord">
          <ac:chgData name="Sakmann, Sebastian" userId="677db367-4fdc-4b05-993c-0f6fcad32d5a" providerId="ADAL" clId="{3CB42A73-E4F3-4135-A92D-771E84DC22B7}" dt="2024-12-10T08:32:42.288" v="210" actId="700"/>
          <ac:spMkLst>
            <pc:docMk/>
            <pc:sldMk cId="1834943312" sldId="2147473601"/>
            <ac:spMk id="3" creationId="{3CA6BC08-1875-9178-9DE6-2D515039DAF7}"/>
          </ac:spMkLst>
        </pc:spChg>
        <pc:spChg chg="del">
          <ac:chgData name="Sakmann, Sebastian" userId="677db367-4fdc-4b05-993c-0f6fcad32d5a" providerId="ADAL" clId="{3CB42A73-E4F3-4135-A92D-771E84DC22B7}" dt="2024-12-10T08:32:42.288" v="210" actId="700"/>
          <ac:spMkLst>
            <pc:docMk/>
            <pc:sldMk cId="1834943312" sldId="2147473601"/>
            <ac:spMk id="4" creationId="{38BAB22B-496A-244F-630B-899869752E19}"/>
          </ac:spMkLst>
        </pc:spChg>
        <pc:spChg chg="add mod ord">
          <ac:chgData name="Sakmann, Sebastian" userId="677db367-4fdc-4b05-993c-0f6fcad32d5a" providerId="ADAL" clId="{3CB42A73-E4F3-4135-A92D-771E84DC22B7}" dt="2024-12-10T08:56:19.493" v="1772" actId="21"/>
          <ac:spMkLst>
            <pc:docMk/>
            <pc:sldMk cId="1834943312" sldId="2147473601"/>
            <ac:spMk id="5" creationId="{2FB22F87-E1A3-6838-1358-A120392A8D9C}"/>
          </ac:spMkLst>
        </pc:spChg>
        <pc:spChg chg="add mod ord">
          <ac:chgData name="Sakmann, Sebastian" userId="677db367-4fdc-4b05-993c-0f6fcad32d5a" providerId="ADAL" clId="{3CB42A73-E4F3-4135-A92D-771E84DC22B7}" dt="2024-12-10T08:56:34.149" v="1860" actId="20577"/>
          <ac:spMkLst>
            <pc:docMk/>
            <pc:sldMk cId="1834943312" sldId="2147473601"/>
            <ac:spMk id="6" creationId="{A5584DBF-6454-833E-F54E-B16C14072513}"/>
          </ac:spMkLst>
        </pc:spChg>
        <pc:spChg chg="add del mod modVis">
          <ac:chgData name="Sakmann, Sebastian" userId="677db367-4fdc-4b05-993c-0f6fcad32d5a" providerId="ADAL" clId="{3CB42A73-E4F3-4135-A92D-771E84DC22B7}" dt="2024-12-10T08:32:45.270" v="257"/>
          <ac:spMkLst>
            <pc:docMk/>
            <pc:sldMk cId="1834943312" sldId="2147473601"/>
            <ac:spMk id="8" creationId="{02ED754F-58BE-B52C-691F-213D7380B5C9}"/>
          </ac:spMkLst>
        </pc:spChg>
        <pc:spChg chg="add del mod modVis">
          <ac:chgData name="Sakmann, Sebastian" userId="677db367-4fdc-4b05-993c-0f6fcad32d5a" providerId="ADAL" clId="{3CB42A73-E4F3-4135-A92D-771E84DC22B7}" dt="2024-12-10T08:32:49.665" v="303"/>
          <ac:spMkLst>
            <pc:docMk/>
            <pc:sldMk cId="1834943312" sldId="2147473601"/>
            <ac:spMk id="9" creationId="{F80DE12E-9D45-061E-8B3B-5A424C029D38}"/>
          </ac:spMkLst>
        </pc:spChg>
        <pc:graphicFrameChg chg="add mod ord modVis">
          <ac:chgData name="Sakmann, Sebastian" userId="677db367-4fdc-4b05-993c-0f6fcad32d5a" providerId="ADAL" clId="{3CB42A73-E4F3-4135-A92D-771E84DC22B7}" dt="2024-12-10T08:56:20.004" v="1774"/>
          <ac:graphicFrameMkLst>
            <pc:docMk/>
            <pc:sldMk cId="1834943312" sldId="2147473601"/>
            <ac:graphicFrameMk id="7" creationId="{72F31C5C-F829-37F1-4332-30ECFB6644F1}"/>
          </ac:graphicFrameMkLst>
        </pc:graphicFrameChg>
      </pc:sldChg>
      <pc:sldChg chg="addSp delSp modSp new mod">
        <pc:chgData name="Sakmann, Sebastian" userId="677db367-4fdc-4b05-993c-0f6fcad32d5a" providerId="ADAL" clId="{3CB42A73-E4F3-4135-A92D-771E84DC22B7}" dt="2024-12-10T13:46:52.440" v="7739" actId="20577"/>
        <pc:sldMkLst>
          <pc:docMk/>
          <pc:sldMk cId="1922010482" sldId="2147473602"/>
        </pc:sldMkLst>
        <pc:spChg chg="del mod">
          <ac:chgData name="Sakmann, Sebastian" userId="677db367-4fdc-4b05-993c-0f6fcad32d5a" providerId="ADAL" clId="{3CB42A73-E4F3-4135-A92D-771E84DC22B7}" dt="2024-12-10T13:41:46.936" v="6991" actId="478"/>
          <ac:spMkLst>
            <pc:docMk/>
            <pc:sldMk cId="1922010482" sldId="2147473602"/>
            <ac:spMk id="2" creationId="{B92477B3-74A0-D000-CB61-8674E8ECE101}"/>
          </ac:spMkLst>
        </pc:spChg>
        <pc:spChg chg="del mod">
          <ac:chgData name="Sakmann, Sebastian" userId="677db367-4fdc-4b05-993c-0f6fcad32d5a" providerId="ADAL" clId="{3CB42A73-E4F3-4135-A92D-771E84DC22B7}" dt="2024-12-10T13:41:48.217" v="6992" actId="478"/>
          <ac:spMkLst>
            <pc:docMk/>
            <pc:sldMk cId="1922010482" sldId="2147473602"/>
            <ac:spMk id="3" creationId="{F5296A61-8B83-DBFA-EF32-B24CFDCB94A4}"/>
          </ac:spMkLst>
        </pc:spChg>
        <pc:spChg chg="mod">
          <ac:chgData name="Sakmann, Sebastian" userId="677db367-4fdc-4b05-993c-0f6fcad32d5a" providerId="ADAL" clId="{3CB42A73-E4F3-4135-A92D-771E84DC22B7}" dt="2024-12-10T11:04:13.820" v="5368" actId="948"/>
          <ac:spMkLst>
            <pc:docMk/>
            <pc:sldMk cId="1922010482" sldId="2147473602"/>
            <ac:spMk id="4" creationId="{86D52BC6-A7DD-2DA2-12B6-332152172176}"/>
          </ac:spMkLst>
        </pc:spChg>
        <pc:spChg chg="add del mod modVis">
          <ac:chgData name="Sakmann, Sebastian" userId="677db367-4fdc-4b05-993c-0f6fcad32d5a" providerId="ADAL" clId="{3CB42A73-E4F3-4135-A92D-771E84DC22B7}" dt="2024-12-10T08:33:35.035" v="369"/>
          <ac:spMkLst>
            <pc:docMk/>
            <pc:sldMk cId="1922010482" sldId="2147473602"/>
            <ac:spMk id="6" creationId="{63130344-2FBC-9689-E2A5-FBB113E6E2C4}"/>
          </ac:spMkLst>
        </pc:spChg>
        <pc:spChg chg="add del mod modVis">
          <ac:chgData name="Sakmann, Sebastian" userId="677db367-4fdc-4b05-993c-0f6fcad32d5a" providerId="ADAL" clId="{3CB42A73-E4F3-4135-A92D-771E84DC22B7}" dt="2024-12-10T08:33:35.854" v="407"/>
          <ac:spMkLst>
            <pc:docMk/>
            <pc:sldMk cId="1922010482" sldId="2147473602"/>
            <ac:spMk id="8" creationId="{9A67E2B2-14CA-13F5-461D-B803021F08F4}"/>
          </ac:spMkLst>
        </pc:spChg>
        <pc:spChg chg="add del mod modVis">
          <ac:chgData name="Sakmann, Sebastian" userId="677db367-4fdc-4b05-993c-0f6fcad32d5a" providerId="ADAL" clId="{3CB42A73-E4F3-4135-A92D-771E84DC22B7}" dt="2024-12-10T08:33:43.627" v="445"/>
          <ac:spMkLst>
            <pc:docMk/>
            <pc:sldMk cId="1922010482" sldId="2147473602"/>
            <ac:spMk id="9" creationId="{CEF53227-5BF0-5DFA-CA20-43288C36CC12}"/>
          </ac:spMkLst>
        </pc:spChg>
        <pc:spChg chg="add del mod modVis">
          <ac:chgData name="Sakmann, Sebastian" userId="677db367-4fdc-4b05-993c-0f6fcad32d5a" providerId="ADAL" clId="{3CB42A73-E4F3-4135-A92D-771E84DC22B7}" dt="2024-12-10T08:33:47.094" v="482"/>
          <ac:spMkLst>
            <pc:docMk/>
            <pc:sldMk cId="1922010482" sldId="2147473602"/>
            <ac:spMk id="10" creationId="{4C7EB9EE-7E44-61C2-CA0D-AF3F905F2DDF}"/>
          </ac:spMkLst>
        </pc:spChg>
        <pc:spChg chg="add del mod modVis">
          <ac:chgData name="Sakmann, Sebastian" userId="677db367-4fdc-4b05-993c-0f6fcad32d5a" providerId="ADAL" clId="{3CB42A73-E4F3-4135-A92D-771E84DC22B7}" dt="2024-12-10T08:33:51.182" v="507"/>
          <ac:spMkLst>
            <pc:docMk/>
            <pc:sldMk cId="1922010482" sldId="2147473602"/>
            <ac:spMk id="11" creationId="{E6BA8288-1510-A7AB-4003-866DAF028064}"/>
          </ac:spMkLst>
        </pc:spChg>
        <pc:spChg chg="add del mod modVis">
          <ac:chgData name="Sakmann, Sebastian" userId="677db367-4fdc-4b05-993c-0f6fcad32d5a" providerId="ADAL" clId="{3CB42A73-E4F3-4135-A92D-771E84DC22B7}" dt="2024-12-10T11:04:13.858" v="5389"/>
          <ac:spMkLst>
            <pc:docMk/>
            <pc:sldMk cId="1922010482" sldId="2147473602"/>
            <ac:spMk id="12" creationId="{B3E7E72D-3BD0-F2F4-B829-0D4CC933DAE6}"/>
          </ac:spMkLst>
        </pc:spChg>
        <pc:spChg chg="add del mod">
          <ac:chgData name="Sakmann, Sebastian" userId="677db367-4fdc-4b05-993c-0f6fcad32d5a" providerId="ADAL" clId="{3CB42A73-E4F3-4135-A92D-771E84DC22B7}" dt="2024-12-10T13:41:49.841" v="6993" actId="478"/>
          <ac:spMkLst>
            <pc:docMk/>
            <pc:sldMk cId="1922010482" sldId="2147473602"/>
            <ac:spMk id="14" creationId="{F9350D21-1048-9007-35AA-A144AF29073B}"/>
          </ac:spMkLst>
        </pc:spChg>
        <pc:spChg chg="add del mod">
          <ac:chgData name="Sakmann, Sebastian" userId="677db367-4fdc-4b05-993c-0f6fcad32d5a" providerId="ADAL" clId="{3CB42A73-E4F3-4135-A92D-771E84DC22B7}" dt="2024-12-10T13:41:50.858" v="6994" actId="478"/>
          <ac:spMkLst>
            <pc:docMk/>
            <pc:sldMk cId="1922010482" sldId="2147473602"/>
            <ac:spMk id="16" creationId="{A58E4B73-8576-6A52-6B6A-31C801124E6F}"/>
          </ac:spMkLst>
        </pc:spChg>
        <pc:spChg chg="add mod">
          <ac:chgData name="Sakmann, Sebastian" userId="677db367-4fdc-4b05-993c-0f6fcad32d5a" providerId="ADAL" clId="{3CB42A73-E4F3-4135-A92D-771E84DC22B7}" dt="2024-12-10T13:42:06.600" v="6999" actId="1076"/>
          <ac:spMkLst>
            <pc:docMk/>
            <pc:sldMk cId="1922010482" sldId="2147473602"/>
            <ac:spMk id="19" creationId="{B401AB89-7FFC-607B-0E16-2624DDC64CE0}"/>
          </ac:spMkLst>
        </pc:spChg>
        <pc:spChg chg="add mod">
          <ac:chgData name="Sakmann, Sebastian" userId="677db367-4fdc-4b05-993c-0f6fcad32d5a" providerId="ADAL" clId="{3CB42A73-E4F3-4135-A92D-771E84DC22B7}" dt="2024-12-10T13:46:52.440" v="7739" actId="20577"/>
          <ac:spMkLst>
            <pc:docMk/>
            <pc:sldMk cId="1922010482" sldId="2147473602"/>
            <ac:spMk id="20" creationId="{B2712D6F-09DA-4026-5233-865891012374}"/>
          </ac:spMkLst>
        </pc:spChg>
        <pc:graphicFrameChg chg="add mod ord modVis">
          <ac:chgData name="Sakmann, Sebastian" userId="677db367-4fdc-4b05-993c-0f6fcad32d5a" providerId="ADAL" clId="{3CB42A73-E4F3-4135-A92D-771E84DC22B7}" dt="2024-12-10T11:04:13.868" v="5391"/>
          <ac:graphicFrameMkLst>
            <pc:docMk/>
            <pc:sldMk cId="1922010482" sldId="2147473602"/>
            <ac:graphicFrameMk id="7" creationId="{ACE3D924-2EA6-8610-D057-47D7FD6356A9}"/>
          </ac:graphicFrameMkLst>
        </pc:graphicFrameChg>
        <pc:picChg chg="add mod">
          <ac:chgData name="Sakmann, Sebastian" userId="677db367-4fdc-4b05-993c-0f6fcad32d5a" providerId="ADAL" clId="{3CB42A73-E4F3-4135-A92D-771E84DC22B7}" dt="2024-12-10T13:41:57.653" v="6997" actId="1076"/>
          <ac:picMkLst>
            <pc:docMk/>
            <pc:sldMk cId="1922010482" sldId="2147473602"/>
            <ac:picMk id="18" creationId="{7DC28247-3EEA-9954-5A4A-0B40B092424D}"/>
          </ac:picMkLst>
        </pc:picChg>
      </pc:sldChg>
      <pc:sldChg chg="addSp delSp modSp add mod">
        <pc:chgData name="Sakmann, Sebastian" userId="677db367-4fdc-4b05-993c-0f6fcad32d5a" providerId="ADAL" clId="{3CB42A73-E4F3-4135-A92D-771E84DC22B7}" dt="2024-12-10T11:00:30.453" v="5150" actId="14100"/>
        <pc:sldMkLst>
          <pc:docMk/>
          <pc:sldMk cId="2475521002" sldId="2147473603"/>
        </pc:sldMkLst>
        <pc:spChg chg="mod">
          <ac:chgData name="Sakmann, Sebastian" userId="677db367-4fdc-4b05-993c-0f6fcad32d5a" providerId="ADAL" clId="{3CB42A73-E4F3-4135-A92D-771E84DC22B7}" dt="2024-12-10T08:53:25.591" v="1563" actId="948"/>
          <ac:spMkLst>
            <pc:docMk/>
            <pc:sldMk cId="2475521002" sldId="2147473603"/>
            <ac:spMk id="2" creationId="{0D575B94-F034-39D7-112C-AB4C72BF0817}"/>
          </ac:spMkLst>
        </pc:spChg>
        <pc:spChg chg="add mod">
          <ac:chgData name="Sakmann, Sebastian" userId="677db367-4fdc-4b05-993c-0f6fcad32d5a" providerId="ADAL" clId="{3CB42A73-E4F3-4135-A92D-771E84DC22B7}" dt="2024-12-10T11:00:30.453" v="5150" actId="14100"/>
          <ac:spMkLst>
            <pc:docMk/>
            <pc:sldMk cId="2475521002" sldId="2147473603"/>
            <ac:spMk id="4" creationId="{4C274B8A-1953-6B9F-1FC1-5A1D7953352A}"/>
          </ac:spMkLst>
        </pc:spChg>
        <pc:spChg chg="del">
          <ac:chgData name="Sakmann, Sebastian" userId="677db367-4fdc-4b05-993c-0f6fcad32d5a" providerId="ADAL" clId="{3CB42A73-E4F3-4135-A92D-771E84DC22B7}" dt="2024-12-10T08:50:30.133" v="1388" actId="478"/>
          <ac:spMkLst>
            <pc:docMk/>
            <pc:sldMk cId="2475521002" sldId="2147473603"/>
            <ac:spMk id="10" creationId="{BBD694B9-1179-E313-3836-D89A9B25C80F}"/>
          </ac:spMkLst>
        </pc:spChg>
        <pc:spChg chg="add del mod modVis">
          <ac:chgData name="Sakmann, Sebastian" userId="677db367-4fdc-4b05-993c-0f6fcad32d5a" providerId="ADAL" clId="{3CB42A73-E4F3-4135-A92D-771E84DC22B7}" dt="2024-12-10T08:53:20.297" v="1543"/>
          <ac:spMkLst>
            <pc:docMk/>
            <pc:sldMk cId="2475521002" sldId="2147473603"/>
            <ac:spMk id="11" creationId="{4D7EA88C-276F-BB87-DD0A-1F7B59C1FE4F}"/>
          </ac:spMkLst>
        </pc:spChg>
        <pc:spChg chg="add del mod modVis">
          <ac:chgData name="Sakmann, Sebastian" userId="677db367-4fdc-4b05-993c-0f6fcad32d5a" providerId="ADAL" clId="{3CB42A73-E4F3-4135-A92D-771E84DC22B7}" dt="2024-12-10T08:53:25.635" v="1584"/>
          <ac:spMkLst>
            <pc:docMk/>
            <pc:sldMk cId="2475521002" sldId="2147473603"/>
            <ac:spMk id="12" creationId="{AED28BDB-D8B9-03F1-0EBB-09554105E0BB}"/>
          </ac:spMkLst>
        </pc:spChg>
        <pc:spChg chg="mod">
          <ac:chgData name="Sakmann, Sebastian" userId="677db367-4fdc-4b05-993c-0f6fcad32d5a" providerId="ADAL" clId="{3CB42A73-E4F3-4135-A92D-771E84DC22B7}" dt="2024-12-10T10:55:15.965" v="4305" actId="20577"/>
          <ac:spMkLst>
            <pc:docMk/>
            <pc:sldMk cId="2475521002" sldId="2147473603"/>
            <ac:spMk id="14" creationId="{BF8F6E8E-FA88-553D-CE7C-EF76AC178440}"/>
          </ac:spMkLst>
        </pc:spChg>
        <pc:spChg chg="del">
          <ac:chgData name="Sakmann, Sebastian" userId="677db367-4fdc-4b05-993c-0f6fcad32d5a" providerId="ADAL" clId="{3CB42A73-E4F3-4135-A92D-771E84DC22B7}" dt="2024-12-10T08:50:28.731" v="1387" actId="478"/>
          <ac:spMkLst>
            <pc:docMk/>
            <pc:sldMk cId="2475521002" sldId="2147473603"/>
            <ac:spMk id="15" creationId="{F7FD64D9-79F2-7E16-6B26-3B727F6947F8}"/>
          </ac:spMkLst>
        </pc:spChg>
        <pc:spChg chg="del">
          <ac:chgData name="Sakmann, Sebastian" userId="677db367-4fdc-4b05-993c-0f6fcad32d5a" providerId="ADAL" clId="{3CB42A73-E4F3-4135-A92D-771E84DC22B7}" dt="2024-12-10T08:50:27.413" v="1385" actId="478"/>
          <ac:spMkLst>
            <pc:docMk/>
            <pc:sldMk cId="2475521002" sldId="2147473603"/>
            <ac:spMk id="19" creationId="{6F561732-56BD-769D-2A9D-69C0AFDBE970}"/>
          </ac:spMkLst>
        </pc:spChg>
        <pc:grpChg chg="del">
          <ac:chgData name="Sakmann, Sebastian" userId="677db367-4fdc-4b05-993c-0f6fcad32d5a" providerId="ADAL" clId="{3CB42A73-E4F3-4135-A92D-771E84DC22B7}" dt="2024-12-10T08:50:25.191" v="1384" actId="478"/>
          <ac:grpSpMkLst>
            <pc:docMk/>
            <pc:sldMk cId="2475521002" sldId="2147473603"/>
            <ac:grpSpMk id="3" creationId="{9D0F6DEE-AE3C-CF3B-5275-C9F81AC086C6}"/>
          </ac:grpSpMkLst>
        </pc:grpChg>
        <pc:graphicFrameChg chg="mod">
          <ac:chgData name="Sakmann, Sebastian" userId="677db367-4fdc-4b05-993c-0f6fcad32d5a" providerId="ADAL" clId="{3CB42A73-E4F3-4135-A92D-771E84DC22B7}" dt="2024-12-10T08:53:25.637" v="1586"/>
          <ac:graphicFrameMkLst>
            <pc:docMk/>
            <pc:sldMk cId="2475521002" sldId="2147473603"/>
            <ac:graphicFrameMk id="7" creationId="{C3323F97-7FDA-A367-3EEB-3628F22F19FF}"/>
          </ac:graphicFrameMkLst>
        </pc:graphicFrameChg>
        <pc:picChg chg="mod modCrop">
          <ac:chgData name="Sakmann, Sebastian" userId="677db367-4fdc-4b05-993c-0f6fcad32d5a" providerId="ADAL" clId="{3CB42A73-E4F3-4135-A92D-771E84DC22B7}" dt="2024-12-10T10:54:39.212" v="4298" actId="1035"/>
          <ac:picMkLst>
            <pc:docMk/>
            <pc:sldMk cId="2475521002" sldId="2147473603"/>
            <ac:picMk id="23" creationId="{48206809-204B-A2DA-6177-D5891FA12B8A}"/>
          </ac:picMkLst>
        </pc:picChg>
        <pc:cxnChg chg="del mod">
          <ac:chgData name="Sakmann, Sebastian" userId="677db367-4fdc-4b05-993c-0f6fcad32d5a" providerId="ADAL" clId="{3CB42A73-E4F3-4135-A92D-771E84DC22B7}" dt="2024-12-10T08:50:27.875" v="1386" actId="478"/>
          <ac:cxnSpMkLst>
            <pc:docMk/>
            <pc:sldMk cId="2475521002" sldId="2147473603"/>
            <ac:cxnSpMk id="17" creationId="{0F18C2D1-D059-2A9E-E666-E917C85918AB}"/>
          </ac:cxnSpMkLst>
        </pc:cxnChg>
      </pc:sldChg>
      <pc:sldChg chg="addSp delSp modSp new del mod">
        <pc:chgData name="Sakmann, Sebastian" userId="677db367-4fdc-4b05-993c-0f6fcad32d5a" providerId="ADAL" clId="{3CB42A73-E4F3-4135-A92D-771E84DC22B7}" dt="2024-12-10T11:03:53.652" v="5219" actId="47"/>
        <pc:sldMkLst>
          <pc:docMk/>
          <pc:sldMk cId="2732882490" sldId="2147473604"/>
        </pc:sldMkLst>
        <pc:spChg chg="del">
          <ac:chgData name="Sakmann, Sebastian" userId="677db367-4fdc-4b05-993c-0f6fcad32d5a" providerId="ADAL" clId="{3CB42A73-E4F3-4135-A92D-771E84DC22B7}" dt="2024-12-10T10:45:42.191" v="3828" actId="22"/>
          <ac:spMkLst>
            <pc:docMk/>
            <pc:sldMk cId="2732882490" sldId="2147473604"/>
            <ac:spMk id="2" creationId="{FDAF7766-30ED-6F52-CF9E-84B59A4AABB1}"/>
          </ac:spMkLst>
        </pc:spChg>
        <pc:picChg chg="add mod ord">
          <ac:chgData name="Sakmann, Sebastian" userId="677db367-4fdc-4b05-993c-0f6fcad32d5a" providerId="ADAL" clId="{3CB42A73-E4F3-4135-A92D-771E84DC22B7}" dt="2024-12-10T10:45:46.543" v="3830" actId="1076"/>
          <ac:picMkLst>
            <pc:docMk/>
            <pc:sldMk cId="2732882490" sldId="2147473604"/>
            <ac:picMk id="7" creationId="{1D8E01CC-2E68-71BB-06BF-398353E15857}"/>
          </ac:picMkLst>
        </pc:picChg>
        <pc:picChg chg="add mod">
          <ac:chgData name="Sakmann, Sebastian" userId="677db367-4fdc-4b05-993c-0f6fcad32d5a" providerId="ADAL" clId="{3CB42A73-E4F3-4135-A92D-771E84DC22B7}" dt="2024-12-10T10:46:41.357" v="3833" actId="1076"/>
          <ac:picMkLst>
            <pc:docMk/>
            <pc:sldMk cId="2732882490" sldId="2147473604"/>
            <ac:picMk id="12" creationId="{578313F0-0317-8792-965E-10E759B4250C}"/>
          </ac:picMkLst>
        </pc:picChg>
      </pc:sldChg>
      <pc:sldChg chg="del">
        <pc:chgData name="Sakmann, Sebastian" userId="677db367-4fdc-4b05-993c-0f6fcad32d5a" providerId="ADAL" clId="{3CB42A73-E4F3-4135-A92D-771E84DC22B7}" dt="2024-12-10T08:27:20.216" v="9" actId="47"/>
        <pc:sldMkLst>
          <pc:docMk/>
          <pc:sldMk cId="780385437" sldId="2147473973"/>
        </pc:sldMkLst>
      </pc:sldChg>
      <pc:sldMasterChg chg="delSp mod delSldLayout modSldLayout">
        <pc:chgData name="Sakmann, Sebastian" userId="677db367-4fdc-4b05-993c-0f6fcad32d5a" providerId="ADAL" clId="{3CB42A73-E4F3-4135-A92D-771E84DC22B7}" dt="2024-12-10T10:56:07.980" v="4595" actId="47"/>
        <pc:sldMasterMkLst>
          <pc:docMk/>
          <pc:sldMasterMk cId="3591753961" sldId="2147483694"/>
        </pc:sldMasterMkLst>
        <pc:spChg chg="del">
          <ac:chgData name="Sakmann, Sebastian" userId="677db367-4fdc-4b05-993c-0f6fcad32d5a" providerId="ADAL" clId="{3CB42A73-E4F3-4135-A92D-771E84DC22B7}" dt="2024-12-10T08:27:00.310" v="2" actId="478"/>
          <ac:spMkLst>
            <pc:docMk/>
            <pc:sldMasterMk cId="3591753961" sldId="2147483694"/>
            <ac:spMk id="60" creationId="{00000000-0000-0000-0000-000000000000}"/>
          </ac:spMkLst>
        </pc:spChg>
        <pc:picChg chg="del">
          <ac:chgData name="Sakmann, Sebastian" userId="677db367-4fdc-4b05-993c-0f6fcad32d5a" providerId="ADAL" clId="{3CB42A73-E4F3-4135-A92D-771E84DC22B7}" dt="2024-12-10T08:26:56.369" v="1" actId="478"/>
          <ac:picMkLst>
            <pc:docMk/>
            <pc:sldMasterMk cId="3591753961" sldId="2147483694"/>
            <ac:picMk id="6" creationId="{D9523AF3-77A6-6859-0BCD-27A61FB10C0F}"/>
          </ac:picMkLst>
        </pc:picChg>
        <pc:picChg chg="del">
          <ac:chgData name="Sakmann, Sebastian" userId="677db367-4fdc-4b05-993c-0f6fcad32d5a" providerId="ADAL" clId="{3CB42A73-E4F3-4135-A92D-771E84DC22B7}" dt="2024-12-10T08:26:55.768" v="0" actId="478"/>
          <ac:picMkLst>
            <pc:docMk/>
            <pc:sldMasterMk cId="3591753961" sldId="2147483694"/>
            <ac:picMk id="37" creationId="{67D97514-67CE-B4BF-FBA1-935445DE7753}"/>
          </ac:picMkLst>
        </pc:picChg>
        <pc:sldLayoutChg chg="delSp mod">
          <pc:chgData name="Sakmann, Sebastian" userId="677db367-4fdc-4b05-993c-0f6fcad32d5a" providerId="ADAL" clId="{3CB42A73-E4F3-4135-A92D-771E84DC22B7}" dt="2024-12-10T08:27:05.642" v="5" actId="478"/>
          <pc:sldLayoutMkLst>
            <pc:docMk/>
            <pc:sldMasterMk cId="3591753961" sldId="2147483694"/>
            <pc:sldLayoutMk cId="3658790204" sldId="2147483695"/>
          </pc:sldLayoutMkLst>
          <pc:spChg chg="del">
            <ac:chgData name="Sakmann, Sebastian" userId="677db367-4fdc-4b05-993c-0f6fcad32d5a" providerId="ADAL" clId="{3CB42A73-E4F3-4135-A92D-771E84DC22B7}" dt="2024-12-10T08:27:04.194" v="3" actId="478"/>
            <ac:spMkLst>
              <pc:docMk/>
              <pc:sldMasterMk cId="3591753961" sldId="2147483694"/>
              <pc:sldLayoutMk cId="3658790204" sldId="2147483695"/>
              <ac:spMk id="8" creationId="{C123847A-85FB-C2E1-9FA3-B351E01605E1}"/>
            </ac:spMkLst>
          </pc:spChg>
          <pc:picChg chg="del">
            <ac:chgData name="Sakmann, Sebastian" userId="677db367-4fdc-4b05-993c-0f6fcad32d5a" providerId="ADAL" clId="{3CB42A73-E4F3-4135-A92D-771E84DC22B7}" dt="2024-12-10T08:27:05.147" v="4" actId="478"/>
            <ac:picMkLst>
              <pc:docMk/>
              <pc:sldMasterMk cId="3591753961" sldId="2147483694"/>
              <pc:sldLayoutMk cId="3658790204" sldId="2147483695"/>
              <ac:picMk id="4" creationId="{3F956846-205B-54D3-F1F2-85F0B4C0B2D4}"/>
            </ac:picMkLst>
          </pc:picChg>
          <pc:picChg chg="del">
            <ac:chgData name="Sakmann, Sebastian" userId="677db367-4fdc-4b05-993c-0f6fcad32d5a" providerId="ADAL" clId="{3CB42A73-E4F3-4135-A92D-771E84DC22B7}" dt="2024-12-10T08:27:05.642" v="5" actId="478"/>
            <ac:picMkLst>
              <pc:docMk/>
              <pc:sldMasterMk cId="3591753961" sldId="2147483694"/>
              <pc:sldLayoutMk cId="3658790204" sldId="2147483695"/>
              <ac:picMk id="6" creationId="{D99737F8-C8A0-F8B6-BAE0-2293B150791D}"/>
            </ac:picMkLst>
          </pc:picChg>
        </pc:sldLayoutChg>
        <pc:sldLayoutChg chg="delSp mod">
          <pc:chgData name="Sakmann, Sebastian" userId="677db367-4fdc-4b05-993c-0f6fcad32d5a" providerId="ADAL" clId="{3CB42A73-E4F3-4135-A92D-771E84DC22B7}" dt="2024-12-10T08:27:08.780" v="7" actId="478"/>
          <pc:sldLayoutMkLst>
            <pc:docMk/>
            <pc:sldMasterMk cId="3591753961" sldId="2147483694"/>
            <pc:sldLayoutMk cId="3181136035" sldId="2147483696"/>
          </pc:sldLayoutMkLst>
          <pc:picChg chg="del">
            <ac:chgData name="Sakmann, Sebastian" userId="677db367-4fdc-4b05-993c-0f6fcad32d5a" providerId="ADAL" clId="{3CB42A73-E4F3-4135-A92D-771E84DC22B7}" dt="2024-12-10T08:27:08.780" v="7" actId="478"/>
            <ac:picMkLst>
              <pc:docMk/>
              <pc:sldMasterMk cId="3591753961" sldId="2147483694"/>
              <pc:sldLayoutMk cId="3181136035" sldId="2147483696"/>
              <ac:picMk id="2" creationId="{A4D13A68-E44B-CF19-82FA-F918A753BBB7}"/>
            </ac:picMkLst>
          </pc:picChg>
          <pc:picChg chg="del">
            <ac:chgData name="Sakmann, Sebastian" userId="677db367-4fdc-4b05-993c-0f6fcad32d5a" providerId="ADAL" clId="{3CB42A73-E4F3-4135-A92D-771E84DC22B7}" dt="2024-12-10T08:27:08.158" v="6" actId="478"/>
            <ac:picMkLst>
              <pc:docMk/>
              <pc:sldMasterMk cId="3591753961" sldId="2147483694"/>
              <pc:sldLayoutMk cId="3181136035" sldId="2147483696"/>
              <ac:picMk id="5" creationId="{ACD70626-04B4-B468-C02E-6D8BAD7B6A56}"/>
            </ac:picMkLst>
          </pc:picChg>
        </pc:sldLayoutChg>
        <pc:sldLayoutChg chg="delSp mod">
          <pc:chgData name="Sakmann, Sebastian" userId="677db367-4fdc-4b05-993c-0f6fcad32d5a" providerId="ADAL" clId="{3CB42A73-E4F3-4135-A92D-771E84DC22B7}" dt="2024-12-10T08:53:45.892" v="1590" actId="478"/>
          <pc:sldLayoutMkLst>
            <pc:docMk/>
            <pc:sldMasterMk cId="3591753961" sldId="2147483694"/>
            <pc:sldLayoutMk cId="3282184497" sldId="2147483705"/>
          </pc:sldLayoutMkLst>
          <pc:picChg chg="del">
            <ac:chgData name="Sakmann, Sebastian" userId="677db367-4fdc-4b05-993c-0f6fcad32d5a" providerId="ADAL" clId="{3CB42A73-E4F3-4135-A92D-771E84DC22B7}" dt="2024-12-10T08:53:45.892" v="1590" actId="478"/>
            <ac:picMkLst>
              <pc:docMk/>
              <pc:sldMasterMk cId="3591753961" sldId="2147483694"/>
              <pc:sldLayoutMk cId="3282184497" sldId="2147483705"/>
              <ac:picMk id="3" creationId="{D5464A59-F6A9-0C5B-3A1C-2A8D74B06BCF}"/>
            </ac:picMkLst>
          </pc:picChg>
          <pc:picChg chg="del">
            <ac:chgData name="Sakmann, Sebastian" userId="677db367-4fdc-4b05-993c-0f6fcad32d5a" providerId="ADAL" clId="{3CB42A73-E4F3-4135-A92D-771E84DC22B7}" dt="2024-12-10T08:53:45.094" v="1589" actId="478"/>
            <ac:picMkLst>
              <pc:docMk/>
              <pc:sldMasterMk cId="3591753961" sldId="2147483694"/>
              <pc:sldLayoutMk cId="3282184497" sldId="2147483705"/>
              <ac:picMk id="9" creationId="{C77E6DC4-A159-F573-2FCC-28001E647CC9}"/>
            </ac:picMkLst>
          </pc:picChg>
        </pc:sldLayoutChg>
        <pc:sldLayoutChg chg="delSp mod">
          <pc:chgData name="Sakmann, Sebastian" userId="677db367-4fdc-4b05-993c-0f6fcad32d5a" providerId="ADAL" clId="{3CB42A73-E4F3-4135-A92D-771E84DC22B7}" dt="2024-12-10T08:53:48.643" v="1592" actId="478"/>
          <pc:sldLayoutMkLst>
            <pc:docMk/>
            <pc:sldMasterMk cId="3591753961" sldId="2147483694"/>
            <pc:sldLayoutMk cId="4143601169" sldId="2147483706"/>
          </pc:sldLayoutMkLst>
          <pc:picChg chg="del">
            <ac:chgData name="Sakmann, Sebastian" userId="677db367-4fdc-4b05-993c-0f6fcad32d5a" providerId="ADAL" clId="{3CB42A73-E4F3-4135-A92D-771E84DC22B7}" dt="2024-12-10T08:53:48.643" v="1592" actId="478"/>
            <ac:picMkLst>
              <pc:docMk/>
              <pc:sldMasterMk cId="3591753961" sldId="2147483694"/>
              <pc:sldLayoutMk cId="4143601169" sldId="2147483706"/>
              <ac:picMk id="2" creationId="{2FDB77E7-CAFB-D1DD-CA05-815C5B879E28}"/>
            </ac:picMkLst>
          </pc:picChg>
          <pc:picChg chg="del">
            <ac:chgData name="Sakmann, Sebastian" userId="677db367-4fdc-4b05-993c-0f6fcad32d5a" providerId="ADAL" clId="{3CB42A73-E4F3-4135-A92D-771E84DC22B7}" dt="2024-12-10T08:53:48.130" v="1591" actId="478"/>
            <ac:picMkLst>
              <pc:docMk/>
              <pc:sldMasterMk cId="3591753961" sldId="2147483694"/>
              <pc:sldLayoutMk cId="4143601169" sldId="2147483706"/>
              <ac:picMk id="6" creationId="{E02CB095-EE79-0642-0EC8-103B5A787849}"/>
            </ac:picMkLst>
          </pc:picChg>
        </pc:sldLayoutChg>
        <pc:sldLayoutChg chg="del">
          <pc:chgData name="Sakmann, Sebastian" userId="677db367-4fdc-4b05-993c-0f6fcad32d5a" providerId="ADAL" clId="{3CB42A73-E4F3-4135-A92D-771E84DC22B7}" dt="2024-12-10T10:56:07.980" v="4595" actId="47"/>
          <pc:sldLayoutMkLst>
            <pc:docMk/>
            <pc:sldMasterMk cId="3591753961" sldId="2147483694"/>
            <pc:sldLayoutMk cId="2613180930" sldId="2147483714"/>
          </pc:sldLayoutMkLst>
        </pc:sldLayoutChg>
      </pc:sldMaster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87561" y="431258"/>
            <a:ext cx="4680520" cy="495029"/>
          </a:xfrm>
          <a:prstGeom prst="rect">
            <a:avLst/>
          </a:prstGeom>
        </p:spPr>
        <p:txBody>
          <a:bodyPr vert="horz" lIns="0" tIns="0" rIns="0" bIns="0" rtlCol="0"/>
          <a:lstStyle>
            <a:lvl1pPr algn="l">
              <a:defRPr sz="1200"/>
            </a:lvl1pPr>
          </a:lstStyle>
          <a:p>
            <a:endParaRPr lang="de-DE"/>
          </a:p>
        </p:txBody>
      </p:sp>
      <p:sp>
        <p:nvSpPr>
          <p:cNvPr id="5" name="Foliennummernplatzhalter 4"/>
          <p:cNvSpPr>
            <a:spLocks noGrp="1"/>
          </p:cNvSpPr>
          <p:nvPr>
            <p:ph type="sldNum" sz="quarter" idx="3"/>
          </p:nvPr>
        </p:nvSpPr>
        <p:spPr>
          <a:xfrm>
            <a:off x="5816153" y="9433014"/>
            <a:ext cx="470559" cy="252638"/>
          </a:xfrm>
          <a:prstGeom prst="rect">
            <a:avLst/>
          </a:prstGeom>
        </p:spPr>
        <p:txBody>
          <a:bodyPr vert="horz" lIns="0" tIns="0" rIns="0" bIns="0" rtlCol="0" anchor="b"/>
          <a:lstStyle>
            <a:lvl1pPr algn="r">
              <a:defRPr sz="1200"/>
            </a:lvl1pPr>
          </a:lstStyle>
          <a:p>
            <a:fld id="{20DA4AFD-C94D-40C0-961B-BD88BABAA3A2}" type="slidenum">
              <a:rPr lang="de-DE" smtClean="0"/>
              <a:t>‹Nr.›</a:t>
            </a:fld>
            <a:endParaRPr lang="de-DE"/>
          </a:p>
        </p:txBody>
      </p:sp>
      <p:sp>
        <p:nvSpPr>
          <p:cNvPr id="6" name="Rechteck 5">
            <a:extLst>
              <a:ext uri="{FF2B5EF4-FFF2-40B4-BE49-F238E27FC236}">
                <a16:creationId xmlns:a16="http://schemas.microsoft.com/office/drawing/2014/main" id="{5269F566-7CEF-45FD-A964-113A5AAF709B}"/>
              </a:ext>
            </a:extLst>
          </p:cNvPr>
          <p:cNvSpPr/>
          <p:nvPr/>
        </p:nvSpPr>
        <p:spPr bwMode="gray">
          <a:xfrm>
            <a:off x="478036" y="9547153"/>
            <a:ext cx="1250342" cy="138499"/>
          </a:xfrm>
          <a:prstGeom prst="rect">
            <a:avLst/>
          </a:prstGeom>
        </p:spPr>
        <p:txBody>
          <a:bodyPr wrap="none" lIns="0" tIns="0" rIns="0" bIns="0" anchor="b">
            <a:spAutoFit/>
          </a:bodyPr>
          <a:lstStyle/>
          <a:p>
            <a:pPr marL="0" marR="0" lvl="0" indent="0" defTabSz="914400" eaLnBrk="1" fontAlgn="auto" latinLnBrk="0" hangingPunct="1">
              <a:lnSpc>
                <a:spcPct val="100000"/>
              </a:lnSpc>
              <a:spcBef>
                <a:spcPts val="600"/>
              </a:spcBef>
              <a:spcAft>
                <a:spcPts val="0"/>
              </a:spcAft>
              <a:buClrTx/>
              <a:buSzTx/>
              <a:buFontTx/>
              <a:buNone/>
              <a:tabLst/>
              <a:defRPr/>
            </a:pPr>
            <a:fld id="{02337E45-728D-4F91-915C-3A00294C8321}" type="datetime1">
              <a:rPr kumimoji="0" lang="de-DE" sz="900" b="0" i="0" u="none" strike="noStrike" kern="0" cap="none" spc="0" normalizeH="0" baseline="0" noProof="0" smtClean="0">
                <a:ln>
                  <a:noFill/>
                </a:ln>
                <a:solidFill>
                  <a:schemeClr val="tx1"/>
                </a:solidFill>
                <a:effectLst/>
                <a:uLnTx/>
                <a:uFillTx/>
              </a:rPr>
              <a:pPr marL="0" marR="0" lvl="0" indent="0" defTabSz="914400" eaLnBrk="1" fontAlgn="auto" latinLnBrk="0" hangingPunct="1">
                <a:lnSpc>
                  <a:spcPct val="100000"/>
                </a:lnSpc>
                <a:spcBef>
                  <a:spcPts val="600"/>
                </a:spcBef>
                <a:spcAft>
                  <a:spcPts val="0"/>
                </a:spcAft>
                <a:buClrTx/>
                <a:buSzTx/>
                <a:buFontTx/>
                <a:buNone/>
                <a:tabLst/>
                <a:defRPr/>
              </a:pPr>
              <a:t>10.12.2024</a:t>
            </a:fld>
            <a:r>
              <a:rPr kumimoji="0" lang="de-DE" sz="900" b="0" i="0" u="none" strike="noStrike" kern="0" cap="none" spc="0" normalizeH="0" baseline="0" noProof="0">
                <a:ln>
                  <a:noFill/>
                </a:ln>
                <a:solidFill>
                  <a:schemeClr val="tx1"/>
                </a:solidFill>
                <a:effectLst/>
                <a:uLnTx/>
                <a:uFillTx/>
              </a:rPr>
              <a:t>  </a:t>
            </a:r>
            <a:r>
              <a:rPr kumimoji="0" lang="de-DE" sz="900" b="0" i="0" u="none" strike="noStrike" kern="0" cap="none" spc="0" normalizeH="0" baseline="0" noProof="0">
                <a:ln>
                  <a:noFill/>
                </a:ln>
                <a:solidFill>
                  <a:schemeClr val="tx1"/>
                </a:solidFill>
                <a:effectLst/>
                <a:uLnTx/>
                <a:uFillTx/>
                <a:latin typeface="Corbel" panose="020B0503020204020204" pitchFamily="34" charset="0"/>
              </a:rPr>
              <a:t>·</a:t>
            </a:r>
            <a:r>
              <a:rPr kumimoji="0" lang="de-DE" sz="900" b="0" i="0" u="none" strike="noStrike" kern="0" cap="none" spc="0" normalizeH="0" baseline="0" noProof="0">
                <a:ln>
                  <a:noFill/>
                </a:ln>
                <a:solidFill>
                  <a:schemeClr val="tx1"/>
                </a:solidFill>
                <a:effectLst/>
                <a:uLnTx/>
                <a:uFillTx/>
              </a:rPr>
              <a:t> Az. / </a:t>
            </a:r>
            <a:r>
              <a:rPr kumimoji="0" lang="de-DE" sz="900" b="0" i="0" u="none" strike="noStrike" kern="0" cap="none" spc="0" normalizeH="0" baseline="0" noProof="0" err="1">
                <a:ln>
                  <a:noFill/>
                </a:ln>
                <a:solidFill>
                  <a:schemeClr val="tx1"/>
                </a:solidFill>
                <a:effectLst/>
                <a:uLnTx/>
                <a:uFillTx/>
              </a:rPr>
              <a:t>Dok</a:t>
            </a:r>
            <a:r>
              <a:rPr kumimoji="0" lang="de-DE" sz="900" b="0" i="0" u="none" strike="noStrike" kern="0" cap="none" spc="0" normalizeH="0" baseline="0" noProof="0">
                <a:ln>
                  <a:noFill/>
                </a:ln>
                <a:solidFill>
                  <a:schemeClr val="tx1"/>
                </a:solidFill>
                <a:effectLst/>
                <a:uLnTx/>
                <a:uFillTx/>
              </a:rPr>
              <a:t>.-Nr.</a:t>
            </a:r>
          </a:p>
        </p:txBody>
      </p:sp>
      <p:sp>
        <p:nvSpPr>
          <p:cNvPr id="7" name="TextBox 7">
            <a:extLst>
              <a:ext uri="{FF2B5EF4-FFF2-40B4-BE49-F238E27FC236}">
                <a16:creationId xmlns:a16="http://schemas.microsoft.com/office/drawing/2014/main" id="{9EF32C31-4A2E-44D0-88EF-01DFD1CA003A}"/>
              </a:ext>
            </a:extLst>
          </p:cNvPr>
          <p:cNvSpPr txBox="1"/>
          <p:nvPr/>
        </p:nvSpPr>
        <p:spPr bwMode="gray">
          <a:xfrm>
            <a:off x="1783881" y="9397652"/>
            <a:ext cx="3168000" cy="288000"/>
          </a:xfrm>
          <a:prstGeom prst="rect">
            <a:avLst/>
          </a:prstGeom>
        </p:spPr>
        <p:txBody>
          <a:bodyPr vert="horz" lIns="0" tIns="0" rIns="0" bIns="0" rtlCol="0" anchor="b" anchorCtr="0"/>
          <a:lstStyle>
            <a:defPPr>
              <a:defRPr lang="en-US"/>
            </a:defPPr>
            <a:lvl1pPr>
              <a:defRPr sz="1200">
                <a:solidFill>
                  <a:schemeClr val="tx1">
                    <a:tint val="75000"/>
                  </a:schemeClr>
                </a:solidFill>
              </a:defRPr>
            </a:lvl1pPr>
          </a:lstStyle>
          <a:p>
            <a:pPr algn="ctr"/>
            <a:r>
              <a:rPr lang="de-DE" sz="900">
                <a:solidFill>
                  <a:schemeClr val="tx1"/>
                </a:solidFill>
                <a:ea typeface="+mj-ea"/>
                <a:cs typeface="Arial" panose="020B0604020202020204" pitchFamily="34" charset="0"/>
              </a:rPr>
              <a:t>© BECKER BÜTTNER HELD </a:t>
            </a:r>
          </a:p>
          <a:p>
            <a:pPr algn="ctr"/>
            <a:r>
              <a:rPr lang="de-DE" sz="700">
                <a:solidFill>
                  <a:schemeClr val="tx1"/>
                </a:solidFill>
                <a:ea typeface="+mj-ea"/>
                <a:cs typeface="Arial" panose="020B0604020202020204" pitchFamily="34" charset="0"/>
              </a:rPr>
              <a:t>Rechtsanwälte Wirtschaftsprüfer Steuerberater · </a:t>
            </a:r>
            <a:r>
              <a:rPr lang="de-DE" sz="700" kern="1200">
                <a:solidFill>
                  <a:schemeClr val="tx1"/>
                </a:solidFill>
                <a:latin typeface="+mn-lt"/>
                <a:ea typeface="+mn-ea"/>
                <a:cs typeface="Arial" panose="020B0604020202020204" pitchFamily="34" charset="0"/>
              </a:rPr>
              <a:t>PartGmbB</a:t>
            </a:r>
            <a:endParaRPr lang="de-DE" sz="700">
              <a:solidFill>
                <a:schemeClr val="tx1"/>
              </a:solidFill>
              <a:ea typeface="+mj-ea"/>
              <a:cs typeface="Arial" panose="020B0604020202020204" pitchFamily="34" charset="0"/>
            </a:endParaRPr>
          </a:p>
        </p:txBody>
      </p:sp>
      <p:pic>
        <p:nvPicPr>
          <p:cNvPr id="8" name="Grafik 7">
            <a:extLst>
              <a:ext uri="{FF2B5EF4-FFF2-40B4-BE49-F238E27FC236}">
                <a16:creationId xmlns:a16="http://schemas.microsoft.com/office/drawing/2014/main" id="{1CC8A1A1-94B3-4EAA-8499-83F39169A2F9}"/>
              </a:ext>
            </a:extLst>
          </p:cNvPr>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5528121" y="324644"/>
            <a:ext cx="864000" cy="767850"/>
          </a:xfrm>
          <a:prstGeom prst="rect">
            <a:avLst/>
          </a:prstGeom>
          <a:noFill/>
          <a:ln>
            <a:noFill/>
          </a:ln>
        </p:spPr>
      </p:pic>
    </p:spTree>
    <p:extLst>
      <p:ext uri="{BB962C8B-B14F-4D97-AF65-F5344CB8AC3E}">
        <p14:creationId xmlns:p14="http://schemas.microsoft.com/office/powerpoint/2010/main" val="38499237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271538" y="9325644"/>
            <a:ext cx="576063" cy="360040"/>
          </a:xfrm>
          <a:prstGeom prst="rect">
            <a:avLst/>
          </a:prstGeom>
        </p:spPr>
        <p:txBody>
          <a:bodyPr vert="horz" lIns="0" tIns="0" rIns="0" bIns="0" rtlCol="0" anchor="b"/>
          <a:lstStyle>
            <a:lvl1pPr algn="l">
              <a:defRPr sz="900"/>
            </a:lvl1pPr>
          </a:lstStyle>
          <a:p>
            <a:fld id="{18BB3634-80D0-43BE-85B2-9B00A8401385}" type="datetimeFigureOut">
              <a:rPr lang="de-DE" smtClean="0"/>
              <a:pPr/>
              <a:t>10.12.2024</a:t>
            </a:fld>
            <a:endParaRPr lang="de-DE"/>
          </a:p>
        </p:txBody>
      </p:sp>
      <p:sp>
        <p:nvSpPr>
          <p:cNvPr id="4" name="Folienbildplatzhalter 3"/>
          <p:cNvSpPr>
            <a:spLocks noGrp="1" noRot="1" noChangeAspect="1"/>
          </p:cNvSpPr>
          <p:nvPr>
            <p:ph type="sldImg" idx="2"/>
          </p:nvPr>
        </p:nvSpPr>
        <p:spPr>
          <a:xfrm>
            <a:off x="412628" y="396652"/>
            <a:ext cx="4765450" cy="2681213"/>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415555" y="3420988"/>
            <a:ext cx="5904654" cy="5705353"/>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6" name="Fußzeilenplatzhalter 5"/>
          <p:cNvSpPr>
            <a:spLocks noGrp="1"/>
          </p:cNvSpPr>
          <p:nvPr>
            <p:ph type="ftr" sz="quarter" idx="4"/>
          </p:nvPr>
        </p:nvSpPr>
        <p:spPr>
          <a:xfrm>
            <a:off x="847602" y="9325644"/>
            <a:ext cx="2448272" cy="360040"/>
          </a:xfrm>
          <a:prstGeom prst="rect">
            <a:avLst/>
          </a:prstGeom>
        </p:spPr>
        <p:txBody>
          <a:bodyPr vert="horz" lIns="0" tIns="0" rIns="0" bIns="0" rtlCol="0" anchor="b"/>
          <a:lstStyle>
            <a:lvl1pPr algn="l">
              <a:defRPr sz="900"/>
            </a:lvl1pPr>
          </a:lstStyle>
          <a:p>
            <a:r>
              <a:rPr kumimoji="0" lang="de-DE" sz="900" b="0" i="0" u="none" strike="noStrike" kern="0" cap="none" spc="0" normalizeH="0" baseline="0" noProof="0">
                <a:ln>
                  <a:noFill/>
                </a:ln>
                <a:solidFill>
                  <a:schemeClr val="tx1"/>
                </a:solidFill>
                <a:effectLst/>
                <a:uLnTx/>
                <a:uFillTx/>
              </a:rPr>
              <a:t>Az. / </a:t>
            </a:r>
            <a:r>
              <a:rPr kumimoji="0" lang="de-DE" sz="900" b="0" i="0" u="none" strike="noStrike" kern="0" cap="none" spc="0" normalizeH="0" baseline="0" noProof="0" err="1">
                <a:ln>
                  <a:noFill/>
                </a:ln>
                <a:solidFill>
                  <a:schemeClr val="tx1"/>
                </a:solidFill>
                <a:effectLst/>
                <a:uLnTx/>
                <a:uFillTx/>
              </a:rPr>
              <a:t>Dok</a:t>
            </a:r>
            <a:r>
              <a:rPr kumimoji="0" lang="de-DE" sz="900" b="0" i="0" u="none" strike="noStrike" kern="0" cap="none" spc="0" normalizeH="0" baseline="0" noProof="0">
                <a:ln>
                  <a:noFill/>
                </a:ln>
                <a:solidFill>
                  <a:schemeClr val="tx1"/>
                </a:solidFill>
                <a:effectLst/>
                <a:uLnTx/>
                <a:uFillTx/>
              </a:rPr>
              <a:t>.-Nr.</a:t>
            </a:r>
            <a:endParaRPr lang="de-DE"/>
          </a:p>
        </p:txBody>
      </p:sp>
      <p:sp>
        <p:nvSpPr>
          <p:cNvPr id="7" name="Foliennummernplatzhalter 6"/>
          <p:cNvSpPr>
            <a:spLocks noGrp="1"/>
          </p:cNvSpPr>
          <p:nvPr>
            <p:ph type="sldNum" sz="quarter" idx="5"/>
          </p:nvPr>
        </p:nvSpPr>
        <p:spPr>
          <a:xfrm>
            <a:off x="6104185" y="9325644"/>
            <a:ext cx="413995" cy="360040"/>
          </a:xfrm>
          <a:prstGeom prst="rect">
            <a:avLst/>
          </a:prstGeom>
        </p:spPr>
        <p:txBody>
          <a:bodyPr vert="horz" lIns="0" tIns="0" rIns="0" bIns="0" rtlCol="0" anchor="b"/>
          <a:lstStyle>
            <a:lvl1pPr algn="r">
              <a:defRPr sz="1200"/>
            </a:lvl1pPr>
          </a:lstStyle>
          <a:p>
            <a:fld id="{7FE9F2CD-4514-4900-AFDE-CA4495782596}" type="slidenum">
              <a:rPr lang="de-DE" smtClean="0"/>
              <a:t>‹Nr.›</a:t>
            </a:fld>
            <a:endParaRPr lang="de-DE"/>
          </a:p>
        </p:txBody>
      </p:sp>
      <p:sp>
        <p:nvSpPr>
          <p:cNvPr id="9" name="TextBox 7">
            <a:extLst>
              <a:ext uri="{FF2B5EF4-FFF2-40B4-BE49-F238E27FC236}">
                <a16:creationId xmlns:a16="http://schemas.microsoft.com/office/drawing/2014/main" id="{BBC2850F-CD65-43F4-BE7B-91517D11C915}"/>
              </a:ext>
            </a:extLst>
          </p:cNvPr>
          <p:cNvSpPr txBox="1"/>
          <p:nvPr/>
        </p:nvSpPr>
        <p:spPr bwMode="gray">
          <a:xfrm>
            <a:off x="2647801" y="9397684"/>
            <a:ext cx="3168000" cy="288000"/>
          </a:xfrm>
          <a:prstGeom prst="rect">
            <a:avLst/>
          </a:prstGeom>
        </p:spPr>
        <p:txBody>
          <a:bodyPr vert="horz" lIns="0" tIns="0" rIns="0" bIns="0" rtlCol="0" anchor="b" anchorCtr="0"/>
          <a:lstStyle>
            <a:defPPr>
              <a:defRPr lang="en-US"/>
            </a:defPPr>
            <a:lvl1pPr>
              <a:defRPr sz="1200">
                <a:solidFill>
                  <a:schemeClr val="tx1">
                    <a:tint val="75000"/>
                  </a:schemeClr>
                </a:solidFill>
              </a:defRPr>
            </a:lvl1pPr>
          </a:lstStyle>
          <a:p>
            <a:pPr algn="r"/>
            <a:r>
              <a:rPr lang="de-DE" sz="900">
                <a:solidFill>
                  <a:schemeClr val="tx1"/>
                </a:solidFill>
                <a:ea typeface="+mj-ea"/>
                <a:cs typeface="Arial" panose="020B0604020202020204" pitchFamily="34" charset="0"/>
              </a:rPr>
              <a:t>© BECKER BÜTTNER HELD </a:t>
            </a:r>
          </a:p>
          <a:p>
            <a:pPr algn="r"/>
            <a:r>
              <a:rPr lang="de-DE" sz="700">
                <a:solidFill>
                  <a:schemeClr val="tx1"/>
                </a:solidFill>
                <a:ea typeface="+mj-ea"/>
                <a:cs typeface="Arial" panose="020B0604020202020204" pitchFamily="34" charset="0"/>
              </a:rPr>
              <a:t>Rechtsanwälte Wirtschaftsprüfer Steuerberater · </a:t>
            </a:r>
            <a:r>
              <a:rPr lang="de-DE" sz="700" kern="1200">
                <a:solidFill>
                  <a:schemeClr val="tx1"/>
                </a:solidFill>
                <a:latin typeface="+mn-lt"/>
                <a:ea typeface="+mn-ea"/>
                <a:cs typeface="Arial" panose="020B0604020202020204" pitchFamily="34" charset="0"/>
              </a:rPr>
              <a:t>PartGmbB</a:t>
            </a:r>
            <a:endParaRPr lang="de-DE" sz="700">
              <a:solidFill>
                <a:schemeClr val="tx1"/>
              </a:solidFill>
              <a:ea typeface="+mj-ea"/>
              <a:cs typeface="Arial" panose="020B0604020202020204" pitchFamily="34" charset="0"/>
            </a:endParaRPr>
          </a:p>
        </p:txBody>
      </p:sp>
    </p:spTree>
    <p:extLst>
      <p:ext uri="{BB962C8B-B14F-4D97-AF65-F5344CB8AC3E}">
        <p14:creationId xmlns:p14="http://schemas.microsoft.com/office/powerpoint/2010/main" val="2811726040"/>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Clr>
        <a:schemeClr val="accent1"/>
      </a:buClr>
      <a:buSzPct val="75000"/>
      <a:buFont typeface="Marlett" pitchFamily="2" charset="2"/>
      <a:buChar char=""/>
      <a:defRPr sz="1000" kern="1200">
        <a:solidFill>
          <a:schemeClr val="tx1"/>
        </a:solidFill>
        <a:latin typeface="+mn-lt"/>
        <a:ea typeface="+mn-ea"/>
        <a:cs typeface="+mn-cs"/>
      </a:defRPr>
    </a:lvl1pPr>
    <a:lvl2pPr marL="357188" indent="-176213" algn="l" defTabSz="914400" rtl="0" eaLnBrk="1" latinLnBrk="0" hangingPunct="1">
      <a:spcAft>
        <a:spcPts val="600"/>
      </a:spcAft>
      <a:buClr>
        <a:schemeClr val="accent1"/>
      </a:buClr>
      <a:buFont typeface="Wingdings" panose="05000000000000000000" pitchFamily="2" charset="2"/>
      <a:buChar char="§"/>
      <a:defRPr sz="1000" kern="1200">
        <a:solidFill>
          <a:schemeClr val="tx1"/>
        </a:solidFill>
        <a:latin typeface="+mn-lt"/>
        <a:ea typeface="+mn-ea"/>
        <a:cs typeface="+mn-cs"/>
      </a:defRPr>
    </a:lvl2pPr>
    <a:lvl3pPr marL="538163" indent="-176213" algn="l" defTabSz="914400" rtl="0" eaLnBrk="1" latinLnBrk="0" hangingPunct="1">
      <a:spcAft>
        <a:spcPts val="600"/>
      </a:spcAft>
      <a:buClr>
        <a:schemeClr val="accent1"/>
      </a:buClr>
      <a:buFont typeface="Symbol" panose="05050102010706020507" pitchFamily="18" charset="2"/>
      <a:buChar char="-"/>
      <a:defRPr sz="1000" kern="1200">
        <a:solidFill>
          <a:schemeClr val="tx1"/>
        </a:solidFill>
        <a:latin typeface="+mn-lt"/>
        <a:ea typeface="+mn-ea"/>
        <a:cs typeface="+mn-cs"/>
      </a:defRPr>
    </a:lvl3pPr>
    <a:lvl4pPr marL="719138" indent="-176213" algn="l" defTabSz="914400" rtl="0" eaLnBrk="1" latinLnBrk="0" hangingPunct="1">
      <a:spcAft>
        <a:spcPts val="600"/>
      </a:spcAft>
      <a:buClr>
        <a:schemeClr val="accent1"/>
      </a:buClr>
      <a:buFont typeface="Arial" panose="020B0604020202020204" pitchFamily="34" charset="0"/>
      <a:buChar char="•"/>
      <a:defRPr sz="1000" kern="1200">
        <a:solidFill>
          <a:schemeClr val="tx1"/>
        </a:solidFill>
        <a:latin typeface="+mn-lt"/>
        <a:ea typeface="+mn-ea"/>
        <a:cs typeface="+mn-cs"/>
      </a:defRPr>
    </a:lvl4pPr>
    <a:lvl5pPr marL="895350" indent="-176213" algn="l" defTabSz="914400" rtl="0" eaLnBrk="1" latinLnBrk="0" hangingPunct="1">
      <a:spcAft>
        <a:spcPts val="600"/>
      </a:spcAft>
      <a:buClr>
        <a:schemeClr val="accent1"/>
      </a:buClr>
      <a:buFont typeface="Corbel" panose="020B0503020204020204" pitchFamily="34" charset="0"/>
      <a:buChar char="»"/>
      <a:defRPr sz="1000" kern="1200">
        <a:solidFill>
          <a:schemeClr val="tx1"/>
        </a:solidFill>
        <a:latin typeface="+mn-lt"/>
        <a:ea typeface="+mn-ea"/>
        <a:cs typeface="+mn-cs"/>
      </a:defRPr>
    </a:lvl5pPr>
    <a:lvl6pPr marL="895350" indent="-176213" algn="l" defTabSz="914400" rtl="0" eaLnBrk="1" latinLnBrk="0" hangingPunct="1">
      <a:spcAft>
        <a:spcPts val="600"/>
      </a:spcAft>
      <a:buClr>
        <a:schemeClr val="accent1"/>
      </a:buClr>
      <a:buFont typeface="Corbel" panose="020B0503020204020204" pitchFamily="34" charset="0"/>
      <a:buChar char="»"/>
      <a:defRPr sz="1000" kern="1200">
        <a:solidFill>
          <a:schemeClr val="tx1"/>
        </a:solidFill>
        <a:latin typeface="+mn-lt"/>
        <a:ea typeface="+mn-ea"/>
        <a:cs typeface="+mn-cs"/>
      </a:defRPr>
    </a:lvl6pPr>
    <a:lvl7pPr marL="895350" indent="-176213" algn="l" defTabSz="914400" rtl="0" eaLnBrk="1" latinLnBrk="0" hangingPunct="1">
      <a:spcAft>
        <a:spcPts val="600"/>
      </a:spcAft>
      <a:buClr>
        <a:schemeClr val="accent1"/>
      </a:buClr>
      <a:buFont typeface="Corbel" panose="020B0503020204020204" pitchFamily="34" charset="0"/>
      <a:buChar char="»"/>
      <a:defRPr sz="1000" kern="1200">
        <a:solidFill>
          <a:schemeClr val="tx1"/>
        </a:solidFill>
        <a:latin typeface="+mn-lt"/>
        <a:ea typeface="+mn-ea"/>
        <a:cs typeface="+mn-cs"/>
      </a:defRPr>
    </a:lvl7pPr>
    <a:lvl8pPr marL="895350" indent="-176213" algn="l" defTabSz="914400" rtl="0" eaLnBrk="1" latinLnBrk="0" hangingPunct="1">
      <a:spcAft>
        <a:spcPts val="600"/>
      </a:spcAft>
      <a:buClr>
        <a:schemeClr val="accent1"/>
      </a:buClr>
      <a:buFont typeface="Corbel" panose="020B0503020204020204" pitchFamily="34" charset="0"/>
      <a:buChar char="»"/>
      <a:defRPr sz="1000" kern="1200">
        <a:solidFill>
          <a:schemeClr val="tx1"/>
        </a:solidFill>
        <a:latin typeface="+mn-lt"/>
        <a:ea typeface="+mn-ea"/>
        <a:cs typeface="+mn-cs"/>
      </a:defRPr>
    </a:lvl8pPr>
    <a:lvl9pPr marL="895350" indent="-176213" algn="l" defTabSz="914400" rtl="0" eaLnBrk="1" latinLnBrk="0" hangingPunct="1">
      <a:spcAft>
        <a:spcPts val="600"/>
      </a:spcAft>
      <a:buClr>
        <a:schemeClr val="accent1"/>
      </a:buClr>
      <a:buFont typeface="Corbel" panose="020B0503020204020204" pitchFamily="34" charset="0"/>
      <a:buChar char="»"/>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12750" y="396875"/>
            <a:ext cx="4765675" cy="26812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FE9F2CD-4514-4900-AFDE-CA4495782596}" type="slidenum">
              <a:rPr lang="de-DE" smtClean="0"/>
              <a:t>1</a:t>
            </a:fld>
            <a:endParaRPr lang="de-DE"/>
          </a:p>
        </p:txBody>
      </p:sp>
    </p:spTree>
    <p:extLst>
      <p:ext uri="{BB962C8B-B14F-4D97-AF65-F5344CB8AC3E}">
        <p14:creationId xmlns:p14="http://schemas.microsoft.com/office/powerpoint/2010/main" val="3124468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12750" y="396875"/>
            <a:ext cx="4765675" cy="26812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FE9F2CD-4514-4900-AFDE-CA4495782596}" type="slidenum">
              <a:rPr lang="de-DE" smtClean="0"/>
              <a:t>3</a:t>
            </a:fld>
            <a:endParaRPr lang="de-DE"/>
          </a:p>
        </p:txBody>
      </p:sp>
    </p:spTree>
    <p:extLst>
      <p:ext uri="{BB962C8B-B14F-4D97-AF65-F5344CB8AC3E}">
        <p14:creationId xmlns:p14="http://schemas.microsoft.com/office/powerpoint/2010/main" val="1914110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12750" y="396875"/>
            <a:ext cx="4765675" cy="26812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FE9F2CD-4514-4900-AFDE-CA4495782596}" type="slidenum">
              <a:rPr lang="de-DE" smtClean="0"/>
              <a:t>4</a:t>
            </a:fld>
            <a:endParaRPr lang="de-DE"/>
          </a:p>
        </p:txBody>
      </p:sp>
    </p:spTree>
    <p:extLst>
      <p:ext uri="{BB962C8B-B14F-4D97-AF65-F5344CB8AC3E}">
        <p14:creationId xmlns:p14="http://schemas.microsoft.com/office/powerpoint/2010/main" val="18438296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4.bin"/><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6.bin"/><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bwMode="gray">
          <a:xfrm>
            <a:off x="767408" y="4005064"/>
            <a:ext cx="7128817" cy="864000"/>
          </a:xfrm>
          <a:prstGeom prst="rect">
            <a:avLst/>
          </a:prstGeom>
        </p:spPr>
        <p:txBody>
          <a:bodyPr lIns="0" tIns="72000" anchor="t"/>
          <a:lstStyle>
            <a:lvl1pPr marL="0" indent="0" algn="l">
              <a:lnSpc>
                <a:spcPct val="100000"/>
              </a:lnSpc>
              <a:spcBef>
                <a:spcPts val="0"/>
              </a:spcBef>
              <a:spcAft>
                <a:spcPts val="1200"/>
              </a:spcAft>
              <a:buNone/>
              <a:defRPr sz="2000" baseline="0">
                <a:solidFill>
                  <a:schemeClr val="tx1"/>
                </a:solidFill>
              </a:defRPr>
            </a:lvl1pPr>
            <a:lvl2pPr marL="0" indent="0" algn="l">
              <a:lnSpc>
                <a:spcPct val="100000"/>
              </a:lnSpc>
              <a:spcBef>
                <a:spcPts val="0"/>
              </a:spcBef>
              <a:spcAft>
                <a:spcPts val="1200"/>
              </a:spcAft>
              <a:buNone/>
              <a:defRPr sz="1600">
                <a:solidFill>
                  <a:schemeClr val="tx1"/>
                </a:solidFill>
              </a:defRPr>
            </a:lvl2pPr>
            <a:lvl3pPr marL="0" indent="0" algn="l">
              <a:lnSpc>
                <a:spcPct val="100000"/>
              </a:lnSpc>
              <a:spcBef>
                <a:spcPts val="0"/>
              </a:spcBef>
              <a:spcAft>
                <a:spcPts val="1200"/>
              </a:spcAft>
              <a:buNone/>
              <a:defRPr sz="1600">
                <a:solidFill>
                  <a:schemeClr val="tx1"/>
                </a:solidFill>
              </a:defRPr>
            </a:lvl3pPr>
            <a:lvl4pPr marL="0" indent="0" algn="l">
              <a:lnSpc>
                <a:spcPct val="100000"/>
              </a:lnSpc>
              <a:spcBef>
                <a:spcPts val="0"/>
              </a:spcBef>
              <a:spcAft>
                <a:spcPts val="1200"/>
              </a:spcAft>
              <a:buNone/>
              <a:defRPr sz="1600">
                <a:solidFill>
                  <a:schemeClr val="tx1"/>
                </a:solidFill>
              </a:defRPr>
            </a:lvl4pPr>
            <a:lvl5pPr marL="0" indent="0" algn="l">
              <a:lnSpc>
                <a:spcPct val="100000"/>
              </a:lnSpc>
              <a:spcBef>
                <a:spcPts val="0"/>
              </a:spcBef>
              <a:spcAft>
                <a:spcPts val="1200"/>
              </a:spcAft>
              <a:buNone/>
              <a:defRPr sz="1600">
                <a:solidFill>
                  <a:schemeClr val="tx1"/>
                </a:solidFill>
              </a:defRPr>
            </a:lvl5pPr>
            <a:lvl6pPr marL="0" indent="0" algn="l">
              <a:lnSpc>
                <a:spcPct val="100000"/>
              </a:lnSpc>
              <a:spcBef>
                <a:spcPts val="0"/>
              </a:spcBef>
              <a:spcAft>
                <a:spcPts val="1200"/>
              </a:spcAft>
              <a:buNone/>
              <a:defRPr sz="1600">
                <a:solidFill>
                  <a:schemeClr val="tx1"/>
                </a:solidFill>
              </a:defRPr>
            </a:lvl6pPr>
            <a:lvl7pPr marL="0" indent="0" algn="l">
              <a:lnSpc>
                <a:spcPct val="100000"/>
              </a:lnSpc>
              <a:spcBef>
                <a:spcPts val="0"/>
              </a:spcBef>
              <a:spcAft>
                <a:spcPts val="1200"/>
              </a:spcAft>
              <a:buNone/>
              <a:defRPr sz="1600">
                <a:solidFill>
                  <a:schemeClr val="tx1"/>
                </a:solidFill>
              </a:defRPr>
            </a:lvl7pPr>
            <a:lvl8pPr marL="0" indent="0" algn="l">
              <a:lnSpc>
                <a:spcPct val="100000"/>
              </a:lnSpc>
              <a:spcBef>
                <a:spcPts val="0"/>
              </a:spcBef>
              <a:spcAft>
                <a:spcPts val="1200"/>
              </a:spcAft>
              <a:buNone/>
              <a:defRPr sz="1600">
                <a:solidFill>
                  <a:schemeClr val="tx1"/>
                </a:solidFill>
              </a:defRPr>
            </a:lvl8pPr>
            <a:lvl9pPr marL="0" indent="0" algn="l">
              <a:lnSpc>
                <a:spcPct val="100000"/>
              </a:lnSpc>
              <a:spcBef>
                <a:spcPts val="0"/>
              </a:spcBef>
              <a:spcAft>
                <a:spcPts val="1200"/>
              </a:spcAft>
              <a:buNone/>
              <a:defRPr sz="1600">
                <a:solidFill>
                  <a:schemeClr val="tx1"/>
                </a:solidFill>
              </a:defRPr>
            </a:lvl9pPr>
          </a:lstStyle>
          <a:p>
            <a:r>
              <a:rPr lang="de-DE"/>
              <a:t>Optionale Untertitelzeilen, durch Klicken bearbeiten, </a:t>
            </a:r>
            <a:br>
              <a:rPr lang="de-DE"/>
            </a:br>
            <a:r>
              <a:rPr lang="de-DE"/>
              <a:t>Corbel 20-16 </a:t>
            </a:r>
            <a:r>
              <a:rPr lang="de-DE" err="1"/>
              <a:t>pt</a:t>
            </a:r>
            <a:r>
              <a:rPr lang="de-DE"/>
              <a:t>.</a:t>
            </a:r>
          </a:p>
        </p:txBody>
      </p:sp>
      <p:sp>
        <p:nvSpPr>
          <p:cNvPr id="7" name="Titel 6">
            <a:extLst>
              <a:ext uri="{FF2B5EF4-FFF2-40B4-BE49-F238E27FC236}">
                <a16:creationId xmlns:a16="http://schemas.microsoft.com/office/drawing/2014/main" id="{DEA78C48-7B72-416D-B9D8-FCC208355545}"/>
              </a:ext>
            </a:extLst>
          </p:cNvPr>
          <p:cNvSpPr>
            <a:spLocks noGrp="1"/>
          </p:cNvSpPr>
          <p:nvPr>
            <p:ph type="title" hasCustomPrompt="1"/>
          </p:nvPr>
        </p:nvSpPr>
        <p:spPr bwMode="gray">
          <a:xfrm>
            <a:off x="767408" y="2997056"/>
            <a:ext cx="10045055" cy="936000"/>
          </a:xfrm>
          <a:prstGeom prst="rect">
            <a:avLst/>
          </a:prstGeom>
        </p:spPr>
        <p:txBody>
          <a:bodyPr vert="horz"/>
          <a:lstStyle>
            <a:lvl1pPr>
              <a:defRPr/>
            </a:lvl1pPr>
          </a:lstStyle>
          <a:p>
            <a:r>
              <a:rPr lang="de-DE"/>
              <a:t>Titelzeile(n), Cambria 24 </a:t>
            </a:r>
            <a:r>
              <a:rPr lang="de-DE" err="1"/>
              <a:t>pt</a:t>
            </a:r>
            <a:r>
              <a:rPr lang="de-DE"/>
              <a:t>., durch Klicken bearbeiten</a:t>
            </a:r>
          </a:p>
        </p:txBody>
      </p:sp>
    </p:spTree>
    <p:extLst>
      <p:ext uri="{BB962C8B-B14F-4D97-AF65-F5344CB8AC3E}">
        <p14:creationId xmlns:p14="http://schemas.microsoft.com/office/powerpoint/2010/main" val="36587902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3 zu 1/3">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15478" y="260350"/>
            <a:ext cx="10404475" cy="710853"/>
          </a:xfrm>
          <a:prstGeom prst="rect">
            <a:avLst/>
          </a:prstGeom>
        </p:spPr>
        <p:txBody>
          <a:bodyPr vert="horz"/>
          <a:lstStyle>
            <a:lvl1pPr>
              <a:defRPr/>
            </a:lvl1pPr>
          </a:lstStyle>
          <a:p>
            <a:r>
              <a:rPr lang="de-DE"/>
              <a:t>Inhaltsfolie, Überschrift, Cambria 24 </a:t>
            </a:r>
            <a:r>
              <a:rPr lang="de-DE" err="1"/>
              <a:t>pt</a:t>
            </a:r>
            <a:r>
              <a:rPr lang="de-DE"/>
              <a:t>., max. 2-zeilig</a:t>
            </a:r>
          </a:p>
        </p:txBody>
      </p:sp>
      <p:sp>
        <p:nvSpPr>
          <p:cNvPr id="7" name="Inhaltsplatzhalter 3"/>
          <p:cNvSpPr>
            <a:spLocks noGrp="1"/>
          </p:cNvSpPr>
          <p:nvPr>
            <p:ph sz="quarter" idx="10" hasCustomPrompt="1"/>
          </p:nvPr>
        </p:nvSpPr>
        <p:spPr bwMode="gray">
          <a:xfrm>
            <a:off x="8184182" y="1700808"/>
            <a:ext cx="3600450" cy="4392017"/>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Inhaltsplatzhalter 3"/>
          <p:cNvSpPr>
            <a:spLocks noGrp="1"/>
          </p:cNvSpPr>
          <p:nvPr>
            <p:ph sz="quarter" idx="11" hasCustomPrompt="1"/>
          </p:nvPr>
        </p:nvSpPr>
        <p:spPr bwMode="gray">
          <a:xfrm>
            <a:off x="407368" y="1700808"/>
            <a:ext cx="7488238" cy="4392017"/>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3" name="Fußzeilenplatzhalter 2">
            <a:extLst>
              <a:ext uri="{FF2B5EF4-FFF2-40B4-BE49-F238E27FC236}">
                <a16:creationId xmlns:a16="http://schemas.microsoft.com/office/drawing/2014/main" id="{8550E9A9-1AA3-62ED-80B6-8C8C8855DAC9}"/>
              </a:ext>
            </a:extLst>
          </p:cNvPr>
          <p:cNvSpPr>
            <a:spLocks noGrp="1"/>
          </p:cNvSpPr>
          <p:nvPr>
            <p:ph type="ftr" sz="quarter" idx="12"/>
          </p:nvPr>
        </p:nvSpPr>
        <p:spPr/>
        <p:txBody>
          <a:bodyPr/>
          <a:lstStyle/>
          <a:p>
            <a:r>
              <a:rPr lang="de-DE"/>
              <a:t>Kommunale Wärmeplanung Verbandsgemeinde Unkel</a:t>
            </a:r>
          </a:p>
        </p:txBody>
      </p:sp>
    </p:spTree>
    <p:extLst>
      <p:ext uri="{BB962C8B-B14F-4D97-AF65-F5344CB8AC3E}">
        <p14:creationId xmlns:p14="http://schemas.microsoft.com/office/powerpoint/2010/main" val="13256143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chluss">
    <p:spTree>
      <p:nvGrpSpPr>
        <p:cNvPr id="1" name=""/>
        <p:cNvGrpSpPr/>
        <p:nvPr/>
      </p:nvGrpSpPr>
      <p:grpSpPr>
        <a:xfrm>
          <a:off x="0" y="0"/>
          <a:ext cx="0" cy="0"/>
          <a:chOff x="0" y="0"/>
          <a:chExt cx="0" cy="0"/>
        </a:xfrm>
      </p:grpSpPr>
      <p:sp>
        <p:nvSpPr>
          <p:cNvPr id="7" name="TextBox 7">
            <a:extLst>
              <a:ext uri="{FF2B5EF4-FFF2-40B4-BE49-F238E27FC236}">
                <a16:creationId xmlns:a16="http://schemas.microsoft.com/office/drawing/2014/main" id="{4BF718AB-EDC9-419B-839A-B3FAAEE8445A}"/>
              </a:ext>
            </a:extLst>
          </p:cNvPr>
          <p:cNvSpPr txBox="1"/>
          <p:nvPr/>
        </p:nvSpPr>
        <p:spPr bwMode="gray">
          <a:xfrm>
            <a:off x="4512000" y="6477751"/>
            <a:ext cx="3168000" cy="288000"/>
          </a:xfrm>
          <a:prstGeom prst="rect">
            <a:avLst/>
          </a:prstGeom>
        </p:spPr>
        <p:txBody>
          <a:bodyPr vert="horz" lIns="0" tIns="0" rIns="0" bIns="0" rtlCol="0" anchor="ctr" anchorCtr="0"/>
          <a:lstStyle>
            <a:defPPr>
              <a:defRPr lang="en-US"/>
            </a:defPPr>
            <a:lvl1pPr>
              <a:defRPr sz="1200">
                <a:solidFill>
                  <a:schemeClr val="tx1">
                    <a:tint val="75000"/>
                  </a:schemeClr>
                </a:solidFill>
              </a:defRPr>
            </a:lvl1pPr>
          </a:lstStyle>
          <a:p>
            <a:pPr algn="ctr"/>
            <a:r>
              <a:rPr lang="de-DE" sz="900">
                <a:solidFill>
                  <a:schemeClr val="tx1"/>
                </a:solidFill>
                <a:ea typeface="+mj-ea"/>
                <a:cs typeface="Arial" panose="020B0604020202020204" pitchFamily="34" charset="0"/>
              </a:rPr>
              <a:t>© DIE BBH-GRUPPE // BBH CONSULTING AG</a:t>
            </a:r>
            <a:endParaRPr lang="de-DE" sz="700">
              <a:solidFill>
                <a:schemeClr val="tx1"/>
              </a:solidFill>
              <a:ea typeface="+mj-ea"/>
              <a:cs typeface="Arial" panose="020B0604020202020204" pitchFamily="34" charset="0"/>
            </a:endParaRPr>
          </a:p>
        </p:txBody>
      </p:sp>
      <p:sp>
        <p:nvSpPr>
          <p:cNvPr id="4" name="Textfeld 3">
            <a:extLst>
              <a:ext uri="{FF2B5EF4-FFF2-40B4-BE49-F238E27FC236}">
                <a16:creationId xmlns:a16="http://schemas.microsoft.com/office/drawing/2014/main" id="{560E1251-8E36-C380-EEC5-63EFAB6AA275}"/>
              </a:ext>
            </a:extLst>
          </p:cNvPr>
          <p:cNvSpPr txBox="1"/>
          <p:nvPr userDrawn="1"/>
        </p:nvSpPr>
        <p:spPr>
          <a:xfrm>
            <a:off x="3018728" y="3685176"/>
            <a:ext cx="6161714" cy="584775"/>
          </a:xfrm>
          <a:prstGeom prst="rect">
            <a:avLst/>
          </a:prstGeom>
          <a:noFill/>
        </p:spPr>
        <p:txBody>
          <a:bodyPr wrap="square">
            <a:spAutoFit/>
          </a:bodyPr>
          <a:lstStyle/>
          <a:p>
            <a:pPr algn="ctr"/>
            <a:r>
              <a:rPr lang="de-DE" sz="1600"/>
              <a:t>www.die-bbh-gruppe.de</a:t>
            </a:r>
            <a:br>
              <a:rPr lang="de-DE" sz="1600"/>
            </a:br>
            <a:r>
              <a:rPr lang="de-DE" sz="1600"/>
              <a:t>www.bbh-blog.de</a:t>
            </a:r>
          </a:p>
        </p:txBody>
      </p:sp>
      <p:sp>
        <p:nvSpPr>
          <p:cNvPr id="8" name="Textfeld 7">
            <a:extLst>
              <a:ext uri="{FF2B5EF4-FFF2-40B4-BE49-F238E27FC236}">
                <a16:creationId xmlns:a16="http://schemas.microsoft.com/office/drawing/2014/main" id="{65BC5E19-E665-0C92-A0AB-D2863016A320}"/>
              </a:ext>
            </a:extLst>
          </p:cNvPr>
          <p:cNvSpPr txBox="1"/>
          <p:nvPr userDrawn="1"/>
        </p:nvSpPr>
        <p:spPr>
          <a:xfrm>
            <a:off x="2495600" y="2780928"/>
            <a:ext cx="7200800" cy="1200329"/>
          </a:xfrm>
          <a:prstGeom prst="rect">
            <a:avLst/>
          </a:prstGeom>
          <a:noFill/>
        </p:spPr>
        <p:txBody>
          <a:bodyPr wrap="square" rtlCol="0">
            <a:spAutoFit/>
          </a:bodyPr>
          <a:lstStyle/>
          <a:p>
            <a:pPr algn="ctr"/>
            <a:r>
              <a:rPr lang="de-DE" sz="2400">
                <a:solidFill>
                  <a:schemeClr val="tx2"/>
                </a:solidFill>
                <a:latin typeface="+mj-lt"/>
                <a:ea typeface="Apex New Book" panose="02010600040501010103" pitchFamily="50" charset="0"/>
              </a:rPr>
              <a:t>Vielen Dank</a:t>
            </a:r>
            <a:br>
              <a:rPr lang="de-DE" sz="2400">
                <a:solidFill>
                  <a:schemeClr val="tx2"/>
                </a:solidFill>
                <a:latin typeface="+mj-lt"/>
                <a:ea typeface="Apex New Book" panose="02010600040501010103" pitchFamily="50" charset="0"/>
              </a:rPr>
            </a:br>
            <a:r>
              <a:rPr lang="de-DE" sz="2400">
                <a:solidFill>
                  <a:schemeClr val="tx2"/>
                </a:solidFill>
                <a:latin typeface="+mj-lt"/>
                <a:ea typeface="Apex New Book" panose="02010600040501010103" pitchFamily="50" charset="0"/>
              </a:rPr>
              <a:t>für Ihre Aufmerksamkeit.</a:t>
            </a:r>
          </a:p>
          <a:p>
            <a:pPr algn="ctr"/>
            <a:endParaRPr lang="de-DE" sz="2400">
              <a:solidFill>
                <a:schemeClr val="tx2"/>
              </a:solidFill>
              <a:latin typeface="+mj-lt"/>
              <a:ea typeface="Apex New Book" panose="02010600040501010103" pitchFamily="50" charset="0"/>
            </a:endParaRPr>
          </a:p>
        </p:txBody>
      </p:sp>
      <p:pic>
        <p:nvPicPr>
          <p:cNvPr id="2" name="Grafik 1">
            <a:extLst>
              <a:ext uri="{FF2B5EF4-FFF2-40B4-BE49-F238E27FC236}">
                <a16:creationId xmlns:a16="http://schemas.microsoft.com/office/drawing/2014/main" id="{A3717ADA-1C0F-A502-F8D4-84B4CB1DFF6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24225" y="4692170"/>
            <a:ext cx="288032" cy="287515"/>
          </a:xfrm>
          <a:prstGeom prst="rect">
            <a:avLst/>
          </a:prstGeom>
        </p:spPr>
      </p:pic>
      <p:sp>
        <p:nvSpPr>
          <p:cNvPr id="10" name="Textfeld 9">
            <a:extLst>
              <a:ext uri="{FF2B5EF4-FFF2-40B4-BE49-F238E27FC236}">
                <a16:creationId xmlns:a16="http://schemas.microsoft.com/office/drawing/2014/main" id="{A4304D42-7483-250E-668D-CC001A90058B}"/>
              </a:ext>
            </a:extLst>
          </p:cNvPr>
          <p:cNvSpPr txBox="1"/>
          <p:nvPr userDrawn="1"/>
        </p:nvSpPr>
        <p:spPr>
          <a:xfrm>
            <a:off x="3612257" y="4697429"/>
            <a:ext cx="900000" cy="276999"/>
          </a:xfrm>
          <a:prstGeom prst="rect">
            <a:avLst/>
          </a:prstGeom>
          <a:noFill/>
        </p:spPr>
        <p:txBody>
          <a:bodyPr wrap="square" lIns="126000" rIns="0" rtlCol="0" anchor="ctr">
            <a:spAutoFit/>
          </a:bodyPr>
          <a:lstStyle/>
          <a:p>
            <a:r>
              <a:rPr lang="de-DE" sz="1200" b="0"/>
              <a:t>BBH_online</a:t>
            </a:r>
          </a:p>
        </p:txBody>
      </p:sp>
      <p:grpSp>
        <p:nvGrpSpPr>
          <p:cNvPr id="11" name="Gruppieren 10">
            <a:extLst>
              <a:ext uri="{FF2B5EF4-FFF2-40B4-BE49-F238E27FC236}">
                <a16:creationId xmlns:a16="http://schemas.microsoft.com/office/drawing/2014/main" id="{ECE2681F-B3D9-5D83-E8BE-D0CD5D9C754D}"/>
              </a:ext>
            </a:extLst>
          </p:cNvPr>
          <p:cNvGrpSpPr/>
          <p:nvPr userDrawn="1"/>
        </p:nvGrpSpPr>
        <p:grpSpPr>
          <a:xfrm>
            <a:off x="5361096" y="4697429"/>
            <a:ext cx="1475402" cy="288032"/>
            <a:chOff x="5328107" y="4697429"/>
            <a:chExt cx="1475402" cy="288032"/>
          </a:xfrm>
        </p:grpSpPr>
        <p:pic>
          <p:nvPicPr>
            <p:cNvPr id="25" name="Grafik 24">
              <a:extLst>
                <a:ext uri="{FF2B5EF4-FFF2-40B4-BE49-F238E27FC236}">
                  <a16:creationId xmlns:a16="http://schemas.microsoft.com/office/drawing/2014/main" id="{24C4C7E3-6233-89E6-1C92-0C7967C9AAB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28107" y="4697429"/>
              <a:ext cx="288032" cy="288032"/>
            </a:xfrm>
            <a:prstGeom prst="rect">
              <a:avLst/>
            </a:prstGeom>
            <a:solidFill>
              <a:schemeClr val="bg1"/>
            </a:solidFill>
          </p:spPr>
        </p:pic>
        <p:sp>
          <p:nvSpPr>
            <p:cNvPr id="26" name="Textfeld 25">
              <a:extLst>
                <a:ext uri="{FF2B5EF4-FFF2-40B4-BE49-F238E27FC236}">
                  <a16:creationId xmlns:a16="http://schemas.microsoft.com/office/drawing/2014/main" id="{120C4374-ABF2-F9D4-3D2E-571130B9EAFC}"/>
                </a:ext>
              </a:extLst>
            </p:cNvPr>
            <p:cNvSpPr txBox="1"/>
            <p:nvPr/>
          </p:nvSpPr>
          <p:spPr>
            <a:xfrm>
              <a:off x="5615509" y="4697429"/>
              <a:ext cx="1188000" cy="276999"/>
            </a:xfrm>
            <a:prstGeom prst="rect">
              <a:avLst/>
            </a:prstGeom>
            <a:noFill/>
          </p:spPr>
          <p:txBody>
            <a:bodyPr wrap="square" lIns="126000" rIns="0" rtlCol="0" anchor="ctr">
              <a:spAutoFit/>
            </a:bodyPr>
            <a:lstStyle/>
            <a:p>
              <a:r>
                <a:rPr lang="de-DE" sz="1200" b="0"/>
                <a:t>die_bbh_gruppe</a:t>
              </a:r>
            </a:p>
          </p:txBody>
        </p:sp>
      </p:grpSp>
      <p:grpSp>
        <p:nvGrpSpPr>
          <p:cNvPr id="27" name="Gruppieren 26">
            <a:extLst>
              <a:ext uri="{FF2B5EF4-FFF2-40B4-BE49-F238E27FC236}">
                <a16:creationId xmlns:a16="http://schemas.microsoft.com/office/drawing/2014/main" id="{058D0442-43E8-2459-7EFE-A398EDDE3173}"/>
              </a:ext>
            </a:extLst>
          </p:cNvPr>
          <p:cNvGrpSpPr/>
          <p:nvPr userDrawn="1"/>
        </p:nvGrpSpPr>
        <p:grpSpPr>
          <a:xfrm>
            <a:off x="7740139" y="4697429"/>
            <a:ext cx="1476033" cy="294065"/>
            <a:chOff x="7383831" y="4697429"/>
            <a:chExt cx="1476033" cy="294065"/>
          </a:xfrm>
        </p:grpSpPr>
        <p:pic>
          <p:nvPicPr>
            <p:cNvPr id="28" name="Grafik 27">
              <a:extLst>
                <a:ext uri="{FF2B5EF4-FFF2-40B4-BE49-F238E27FC236}">
                  <a16:creationId xmlns:a16="http://schemas.microsoft.com/office/drawing/2014/main" id="{C52BA3D7-D51F-8D96-373F-56813F488FB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383831" y="4702108"/>
              <a:ext cx="288033" cy="289386"/>
            </a:xfrm>
            <a:prstGeom prst="rect">
              <a:avLst/>
            </a:prstGeom>
            <a:noFill/>
          </p:spPr>
        </p:pic>
        <p:sp>
          <p:nvSpPr>
            <p:cNvPr id="29" name="Textfeld 28">
              <a:extLst>
                <a:ext uri="{FF2B5EF4-FFF2-40B4-BE49-F238E27FC236}">
                  <a16:creationId xmlns:a16="http://schemas.microsoft.com/office/drawing/2014/main" id="{B26828C8-9765-E50D-1486-1ECA020CEC1A}"/>
                </a:ext>
              </a:extLst>
            </p:cNvPr>
            <p:cNvSpPr txBox="1"/>
            <p:nvPr/>
          </p:nvSpPr>
          <p:spPr>
            <a:xfrm>
              <a:off x="7671864" y="4697429"/>
              <a:ext cx="1188000" cy="276999"/>
            </a:xfrm>
            <a:prstGeom prst="rect">
              <a:avLst/>
            </a:prstGeom>
            <a:noFill/>
          </p:spPr>
          <p:txBody>
            <a:bodyPr wrap="square" lIns="126000" rIns="0" rtlCol="0" anchor="ctr">
              <a:spAutoFit/>
            </a:bodyPr>
            <a:lstStyle/>
            <a:p>
              <a:r>
                <a:rPr lang="de-DE" sz="1200" b="0"/>
                <a:t>Die BBH-Gruppe</a:t>
              </a:r>
            </a:p>
          </p:txBody>
        </p:sp>
      </p:grpSp>
    </p:spTree>
    <p:extLst>
      <p:ext uri="{BB962C8B-B14F-4D97-AF65-F5344CB8AC3E}">
        <p14:creationId xmlns:p14="http://schemas.microsoft.com/office/powerpoint/2010/main" val="32821844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chluss ohne Social Media">
    <p:spTree>
      <p:nvGrpSpPr>
        <p:cNvPr id="1" name=""/>
        <p:cNvGrpSpPr/>
        <p:nvPr/>
      </p:nvGrpSpPr>
      <p:grpSpPr>
        <a:xfrm>
          <a:off x="0" y="0"/>
          <a:ext cx="0" cy="0"/>
          <a:chOff x="0" y="0"/>
          <a:chExt cx="0" cy="0"/>
        </a:xfrm>
      </p:grpSpPr>
      <p:sp>
        <p:nvSpPr>
          <p:cNvPr id="7" name="TextBox 7">
            <a:extLst>
              <a:ext uri="{FF2B5EF4-FFF2-40B4-BE49-F238E27FC236}">
                <a16:creationId xmlns:a16="http://schemas.microsoft.com/office/drawing/2014/main" id="{4BF718AB-EDC9-419B-839A-B3FAAEE8445A}"/>
              </a:ext>
            </a:extLst>
          </p:cNvPr>
          <p:cNvSpPr txBox="1"/>
          <p:nvPr/>
        </p:nvSpPr>
        <p:spPr bwMode="gray">
          <a:xfrm>
            <a:off x="4512000" y="6477751"/>
            <a:ext cx="3168000" cy="288000"/>
          </a:xfrm>
          <a:prstGeom prst="rect">
            <a:avLst/>
          </a:prstGeom>
        </p:spPr>
        <p:txBody>
          <a:bodyPr vert="horz" lIns="0" tIns="0" rIns="0" bIns="0" rtlCol="0" anchor="ctr" anchorCtr="0"/>
          <a:lstStyle>
            <a:defPPr>
              <a:defRPr lang="en-US"/>
            </a:defPPr>
            <a:lvl1pPr>
              <a:defRPr sz="1200">
                <a:solidFill>
                  <a:schemeClr val="tx1">
                    <a:tint val="75000"/>
                  </a:schemeClr>
                </a:solidFill>
              </a:defRPr>
            </a:lvl1pPr>
          </a:lstStyle>
          <a:p>
            <a:pPr algn="ctr"/>
            <a:r>
              <a:rPr lang="de-DE" sz="900">
                <a:solidFill>
                  <a:schemeClr val="tx1"/>
                </a:solidFill>
                <a:ea typeface="+mj-ea"/>
                <a:cs typeface="Arial" panose="020B0604020202020204" pitchFamily="34" charset="0"/>
              </a:rPr>
              <a:t>© DIE BBH-GRUPPE // BBH CONSULTING AG</a:t>
            </a:r>
            <a:endParaRPr lang="de-DE" sz="700">
              <a:solidFill>
                <a:schemeClr val="tx1"/>
              </a:solidFill>
              <a:ea typeface="+mj-ea"/>
              <a:cs typeface="Arial" panose="020B0604020202020204" pitchFamily="34" charset="0"/>
            </a:endParaRPr>
          </a:p>
        </p:txBody>
      </p:sp>
      <p:sp>
        <p:nvSpPr>
          <p:cNvPr id="4" name="Textfeld 3">
            <a:extLst>
              <a:ext uri="{FF2B5EF4-FFF2-40B4-BE49-F238E27FC236}">
                <a16:creationId xmlns:a16="http://schemas.microsoft.com/office/drawing/2014/main" id="{C05B6116-A198-8F03-F997-EC565A002EDD}"/>
              </a:ext>
            </a:extLst>
          </p:cNvPr>
          <p:cNvSpPr txBox="1"/>
          <p:nvPr userDrawn="1"/>
        </p:nvSpPr>
        <p:spPr>
          <a:xfrm>
            <a:off x="3018728" y="3685176"/>
            <a:ext cx="6161714" cy="584775"/>
          </a:xfrm>
          <a:prstGeom prst="rect">
            <a:avLst/>
          </a:prstGeom>
          <a:noFill/>
        </p:spPr>
        <p:txBody>
          <a:bodyPr wrap="square">
            <a:spAutoFit/>
          </a:bodyPr>
          <a:lstStyle/>
          <a:p>
            <a:pPr algn="ctr"/>
            <a:r>
              <a:rPr lang="de-DE" sz="1600"/>
              <a:t>www.die-bbh-gruppe.de</a:t>
            </a:r>
            <a:br>
              <a:rPr lang="de-DE" sz="1600"/>
            </a:br>
            <a:r>
              <a:rPr lang="de-DE" sz="1600"/>
              <a:t>www.bbh-blog.de</a:t>
            </a:r>
          </a:p>
        </p:txBody>
      </p:sp>
      <p:sp>
        <p:nvSpPr>
          <p:cNvPr id="5" name="Textfeld 4">
            <a:extLst>
              <a:ext uri="{FF2B5EF4-FFF2-40B4-BE49-F238E27FC236}">
                <a16:creationId xmlns:a16="http://schemas.microsoft.com/office/drawing/2014/main" id="{E19CF813-4854-B0BD-CFA0-2A62E54DF2CC}"/>
              </a:ext>
            </a:extLst>
          </p:cNvPr>
          <p:cNvSpPr txBox="1"/>
          <p:nvPr userDrawn="1"/>
        </p:nvSpPr>
        <p:spPr>
          <a:xfrm>
            <a:off x="2495600" y="2780928"/>
            <a:ext cx="7200800" cy="1200329"/>
          </a:xfrm>
          <a:prstGeom prst="rect">
            <a:avLst/>
          </a:prstGeom>
          <a:noFill/>
        </p:spPr>
        <p:txBody>
          <a:bodyPr wrap="square" rtlCol="0">
            <a:spAutoFit/>
          </a:bodyPr>
          <a:lstStyle/>
          <a:p>
            <a:pPr algn="ctr"/>
            <a:r>
              <a:rPr lang="de-DE" sz="2400">
                <a:solidFill>
                  <a:schemeClr val="tx2"/>
                </a:solidFill>
                <a:latin typeface="+mj-lt"/>
                <a:ea typeface="Apex New Book" panose="02010600040501010103" pitchFamily="50" charset="0"/>
              </a:rPr>
              <a:t>Vielen Dank</a:t>
            </a:r>
            <a:br>
              <a:rPr lang="de-DE" sz="2400">
                <a:solidFill>
                  <a:schemeClr val="tx2"/>
                </a:solidFill>
                <a:latin typeface="+mj-lt"/>
                <a:ea typeface="Apex New Book" panose="02010600040501010103" pitchFamily="50" charset="0"/>
              </a:rPr>
            </a:br>
            <a:r>
              <a:rPr lang="de-DE" sz="2400">
                <a:solidFill>
                  <a:schemeClr val="tx2"/>
                </a:solidFill>
                <a:latin typeface="+mj-lt"/>
                <a:ea typeface="Apex New Book" panose="02010600040501010103" pitchFamily="50" charset="0"/>
              </a:rPr>
              <a:t>für Ihre Aufmerksamkeit.</a:t>
            </a:r>
          </a:p>
          <a:p>
            <a:pPr algn="ctr"/>
            <a:endParaRPr lang="de-DE" sz="2400">
              <a:solidFill>
                <a:schemeClr val="tx2"/>
              </a:solidFill>
              <a:latin typeface="+mj-lt"/>
              <a:ea typeface="Apex New Book" panose="02010600040501010103" pitchFamily="50" charset="0"/>
            </a:endParaRPr>
          </a:p>
        </p:txBody>
      </p:sp>
    </p:spTree>
    <p:extLst>
      <p:ext uri="{BB962C8B-B14F-4D97-AF65-F5344CB8AC3E}">
        <p14:creationId xmlns:p14="http://schemas.microsoft.com/office/powerpoint/2010/main" val="4143601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ackup">
    <p:spTree>
      <p:nvGrpSpPr>
        <p:cNvPr id="1" name=""/>
        <p:cNvGrpSpPr/>
        <p:nvPr/>
      </p:nvGrpSpPr>
      <p:grpSpPr>
        <a:xfrm>
          <a:off x="0" y="0"/>
          <a:ext cx="0" cy="0"/>
          <a:chOff x="0" y="0"/>
          <a:chExt cx="0" cy="0"/>
        </a:xfrm>
      </p:grpSpPr>
      <p:grpSp>
        <p:nvGrpSpPr>
          <p:cNvPr id="5" name="Gruppieren 4"/>
          <p:cNvGrpSpPr/>
          <p:nvPr/>
        </p:nvGrpSpPr>
        <p:grpSpPr bwMode="gray">
          <a:xfrm>
            <a:off x="527051" y="253740"/>
            <a:ext cx="11135783" cy="6088919"/>
            <a:chOff x="395288" y="319997"/>
            <a:chExt cx="8351837" cy="6022898"/>
          </a:xfrm>
          <a:noFill/>
        </p:grpSpPr>
        <p:sp>
          <p:nvSpPr>
            <p:cNvPr id="3" name="Rechteck 2"/>
            <p:cNvSpPr/>
            <p:nvPr/>
          </p:nvSpPr>
          <p:spPr bwMode="gray">
            <a:xfrm>
              <a:off x="395288" y="319997"/>
              <a:ext cx="8351837" cy="5632069"/>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CorpoS" pitchFamily="2" charset="0"/>
              </a:endParaRPr>
            </a:p>
          </p:txBody>
        </p:sp>
        <p:sp>
          <p:nvSpPr>
            <p:cNvPr id="4" name="Gleichschenkliges Dreieck 3"/>
            <p:cNvSpPr/>
            <p:nvPr/>
          </p:nvSpPr>
          <p:spPr bwMode="gray">
            <a:xfrm rot="10800000">
              <a:off x="7374464" y="5809495"/>
              <a:ext cx="541866" cy="533400"/>
            </a:xfrm>
            <a:prstGeom prst="triangl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CorpoS" pitchFamily="2" charset="0"/>
              </a:endParaRPr>
            </a:p>
          </p:txBody>
        </p:sp>
      </p:grpSp>
      <p:sp>
        <p:nvSpPr>
          <p:cNvPr id="7" name="Textfeld 6"/>
          <p:cNvSpPr txBox="1"/>
          <p:nvPr/>
        </p:nvSpPr>
        <p:spPr bwMode="gray">
          <a:xfrm>
            <a:off x="623888" y="2781040"/>
            <a:ext cx="10944225" cy="1008000"/>
          </a:xfrm>
          <a:prstGeom prst="rect">
            <a:avLst/>
          </a:prstGeom>
          <a:noFill/>
        </p:spPr>
        <p:txBody>
          <a:bodyPr wrap="square" rtlCol="0">
            <a:noAutofit/>
          </a:bodyPr>
          <a:lstStyle/>
          <a:p>
            <a:pPr algn="ctr"/>
            <a:r>
              <a:rPr lang="de-DE" sz="2400" b="0" i="0">
                <a:solidFill>
                  <a:schemeClr val="tx2"/>
                </a:solidFill>
                <a:latin typeface="+mj-lt"/>
              </a:rPr>
              <a:t>Backup.</a:t>
            </a:r>
          </a:p>
        </p:txBody>
      </p:sp>
      <p:sp>
        <p:nvSpPr>
          <p:cNvPr id="2" name="Fußzeilenplatzhalter 1">
            <a:extLst>
              <a:ext uri="{FF2B5EF4-FFF2-40B4-BE49-F238E27FC236}">
                <a16:creationId xmlns:a16="http://schemas.microsoft.com/office/drawing/2014/main" id="{8ED1D8E6-8FED-47AB-F052-D19B5480D5FE}"/>
              </a:ext>
            </a:extLst>
          </p:cNvPr>
          <p:cNvSpPr>
            <a:spLocks noGrp="1"/>
          </p:cNvSpPr>
          <p:nvPr>
            <p:ph type="ftr" sz="quarter" idx="10"/>
          </p:nvPr>
        </p:nvSpPr>
        <p:spPr/>
        <p:txBody>
          <a:bodyPr/>
          <a:lstStyle/>
          <a:p>
            <a:r>
              <a:rPr lang="de-DE"/>
              <a:t>Kommunale Wärmeplanung Verbandsgemeinde Unkel</a:t>
            </a:r>
          </a:p>
        </p:txBody>
      </p:sp>
      <p:grpSp>
        <p:nvGrpSpPr>
          <p:cNvPr id="6" name="Gruppieren 5">
            <a:extLst>
              <a:ext uri="{FF2B5EF4-FFF2-40B4-BE49-F238E27FC236}">
                <a16:creationId xmlns:a16="http://schemas.microsoft.com/office/drawing/2014/main" id="{286198BE-BD4C-8E5F-F2EC-99E8CBE40CE4}"/>
              </a:ext>
            </a:extLst>
          </p:cNvPr>
          <p:cNvGrpSpPr/>
          <p:nvPr userDrawn="1"/>
        </p:nvGrpSpPr>
        <p:grpSpPr bwMode="gray">
          <a:xfrm>
            <a:off x="527051" y="253740"/>
            <a:ext cx="11135783" cy="6088919"/>
            <a:chOff x="395288" y="319997"/>
            <a:chExt cx="8351837" cy="6022898"/>
          </a:xfrm>
          <a:noFill/>
        </p:grpSpPr>
        <p:sp>
          <p:nvSpPr>
            <p:cNvPr id="8" name="Rechteck 7">
              <a:extLst>
                <a:ext uri="{FF2B5EF4-FFF2-40B4-BE49-F238E27FC236}">
                  <a16:creationId xmlns:a16="http://schemas.microsoft.com/office/drawing/2014/main" id="{15E3FA25-B433-B3BC-3DA4-DCB4DE176744}"/>
                </a:ext>
              </a:extLst>
            </p:cNvPr>
            <p:cNvSpPr/>
            <p:nvPr userDrawn="1"/>
          </p:nvSpPr>
          <p:spPr bwMode="gray">
            <a:xfrm>
              <a:off x="395288" y="319997"/>
              <a:ext cx="8351837" cy="5632069"/>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CorpoS" pitchFamily="2" charset="0"/>
              </a:endParaRPr>
            </a:p>
          </p:txBody>
        </p:sp>
        <p:sp>
          <p:nvSpPr>
            <p:cNvPr id="9" name="Gleichschenkliges Dreieck 8">
              <a:extLst>
                <a:ext uri="{FF2B5EF4-FFF2-40B4-BE49-F238E27FC236}">
                  <a16:creationId xmlns:a16="http://schemas.microsoft.com/office/drawing/2014/main" id="{C2D36409-8C04-7B2F-4957-2CA4AA04F47B}"/>
                </a:ext>
              </a:extLst>
            </p:cNvPr>
            <p:cNvSpPr/>
            <p:nvPr userDrawn="1"/>
          </p:nvSpPr>
          <p:spPr bwMode="gray">
            <a:xfrm rot="10800000">
              <a:off x="7374464" y="5809495"/>
              <a:ext cx="541866" cy="533400"/>
            </a:xfrm>
            <a:prstGeom prst="triangl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CorpoS" pitchFamily="2" charset="0"/>
              </a:endParaRPr>
            </a:p>
          </p:txBody>
        </p:sp>
      </p:grpSp>
    </p:spTree>
    <p:extLst>
      <p:ext uri="{BB962C8B-B14F-4D97-AF65-F5344CB8AC3E}">
        <p14:creationId xmlns:p14="http://schemas.microsoft.com/office/powerpoint/2010/main" val="387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erfolie">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A74A6C0D-E270-87E0-A523-08D8C8A17364}"/>
              </a:ext>
            </a:extLst>
          </p:cNvPr>
          <p:cNvSpPr>
            <a:spLocks noGrp="1"/>
          </p:cNvSpPr>
          <p:nvPr>
            <p:ph type="ftr" sz="quarter" idx="10"/>
          </p:nvPr>
        </p:nvSpPr>
        <p:spPr/>
        <p:txBody>
          <a:bodyPr/>
          <a:lstStyle/>
          <a:p>
            <a:r>
              <a:rPr lang="de-DE"/>
              <a:t>Kommunale Wärmeplanung Verbandsgemeinde Unkel</a:t>
            </a:r>
          </a:p>
        </p:txBody>
      </p:sp>
    </p:spTree>
    <p:extLst>
      <p:ext uri="{BB962C8B-B14F-4D97-AF65-F5344CB8AC3E}">
        <p14:creationId xmlns:p14="http://schemas.microsoft.com/office/powerpoint/2010/main" val="23702295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Unternehmensprofil-BBH-Gruppe">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E6185C61-08CE-6038-DB43-235F487474E1}"/>
              </a:ext>
            </a:extLst>
          </p:cNvPr>
          <p:cNvGraphicFramePr>
            <a:graphicFrameLocks noChangeAspect="1"/>
          </p:cNvGraphicFramePr>
          <p:nvPr>
            <p:custDataLst>
              <p:tags r:id="rId1"/>
            </p:custDataLst>
            <p:extLst>
              <p:ext uri="{D42A27DB-BD31-4B8C-83A1-F6EECF244321}">
                <p14:modId xmlns:p14="http://schemas.microsoft.com/office/powerpoint/2010/main" val="1489471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2" imgH="398" progId="TCLayout.ActiveDocument.1">
                  <p:embed/>
                </p:oleObj>
              </mc:Choice>
              <mc:Fallback>
                <p:oleObj name="think-cell Folie" r:id="rId4" imgW="402" imgH="398" progId="TCLayout.ActiveDocument.1">
                  <p:embed/>
                  <p:pic>
                    <p:nvPicPr>
                      <p:cNvPr id="11" name="Objekt 10" hidden="1">
                        <a:extLst>
                          <a:ext uri="{FF2B5EF4-FFF2-40B4-BE49-F238E27FC236}">
                            <a16:creationId xmlns:a16="http://schemas.microsoft.com/office/drawing/2014/main" id="{E6185C61-08CE-6038-DB43-235F487474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feld 8">
            <a:extLst>
              <a:ext uri="{FF2B5EF4-FFF2-40B4-BE49-F238E27FC236}">
                <a16:creationId xmlns:a16="http://schemas.microsoft.com/office/drawing/2014/main" id="{9C5E4332-C954-903D-4427-F64346A5D56B}"/>
              </a:ext>
            </a:extLst>
          </p:cNvPr>
          <p:cNvSpPr txBox="1"/>
          <p:nvPr/>
        </p:nvSpPr>
        <p:spPr>
          <a:xfrm>
            <a:off x="4295801" y="1701800"/>
            <a:ext cx="7488212" cy="4391496"/>
          </a:xfrm>
          <a:prstGeom prst="rect">
            <a:avLst/>
          </a:prstGeom>
          <a:noFill/>
        </p:spPr>
        <p:txBody>
          <a:bodyPr wrap="square" lIns="0" tIns="0" rIns="0" bIns="0" rtlCol="0">
            <a:noAutofit/>
          </a:bodyPr>
          <a:lstStyle/>
          <a:p>
            <a:pPr marL="0" indent="0">
              <a:buNone/>
            </a:pPr>
            <a:r>
              <a:rPr lang="de-DE"/>
              <a:t>Die BBH-Gruppe besteht aus der Kanzlei Becker Büttner Held (BBH),</a:t>
            </a:r>
            <a:br>
              <a:rPr lang="de-DE"/>
            </a:br>
            <a:r>
              <a:rPr lang="de-DE"/>
              <a:t>der BBH AG Wirtschaftsprüfungsgesellschaft, der Unternehmensberatung</a:t>
            </a:r>
            <a:br>
              <a:rPr lang="de-DE"/>
            </a:br>
            <a:r>
              <a:rPr lang="de-DE"/>
              <a:t>BBH Consulting AG (BBHC), dem Quartiergestalter BBH Immobilien und der</a:t>
            </a:r>
            <a:br>
              <a:rPr lang="de-DE"/>
            </a:br>
            <a:r>
              <a:rPr lang="de-DE"/>
              <a:t>BBH Solutions.</a:t>
            </a:r>
          </a:p>
          <a:p>
            <a:pPr marL="0" indent="0">
              <a:buNone/>
            </a:pPr>
            <a:endParaRPr lang="de-DE"/>
          </a:p>
          <a:p>
            <a:pPr marL="0" indent="0">
              <a:buNone/>
            </a:pPr>
            <a:r>
              <a:rPr lang="de-DE"/>
              <a:t>Unser besonderes Kennzeichen ist der interdisziplinäre Beratungsansatz,</a:t>
            </a:r>
            <a:br>
              <a:rPr lang="de-DE"/>
            </a:br>
            <a:r>
              <a:rPr lang="de-DE"/>
              <a:t>der sich durch die Zusammenarbeit von </a:t>
            </a:r>
            <a:r>
              <a:rPr lang="de-DE" err="1"/>
              <a:t>Rechtsanwält</a:t>
            </a:r>
            <a:r>
              <a:rPr lang="de-DE"/>
              <a:t>*innen, Wirtschafts-prüfer*innen, Steuerberater*innen sowie Ingenieur*innen, Wirtschafts-expert*innen und IT-Fachleuten auszeichnet.</a:t>
            </a:r>
          </a:p>
          <a:p>
            <a:pPr marL="0" indent="0">
              <a:buNone/>
            </a:pPr>
            <a:endParaRPr lang="de-DE"/>
          </a:p>
          <a:p>
            <a:pPr marL="0" indent="0">
              <a:buNone/>
            </a:pPr>
            <a:r>
              <a:rPr lang="de-DE"/>
              <a:t>Zusammen entwickeln wir für Sie passgenaue Lösungen für alle Unternehmenslagen. </a:t>
            </a:r>
          </a:p>
          <a:p>
            <a:endParaRPr lang="de-DE"/>
          </a:p>
        </p:txBody>
      </p:sp>
      <p:sp>
        <p:nvSpPr>
          <p:cNvPr id="2" name="Fußzeilenplatzhalter 1">
            <a:extLst>
              <a:ext uri="{FF2B5EF4-FFF2-40B4-BE49-F238E27FC236}">
                <a16:creationId xmlns:a16="http://schemas.microsoft.com/office/drawing/2014/main" id="{3978E7F5-D8F8-254D-FE5F-0B2A9549EF51}"/>
              </a:ext>
            </a:extLst>
          </p:cNvPr>
          <p:cNvSpPr>
            <a:spLocks noGrp="1"/>
          </p:cNvSpPr>
          <p:nvPr>
            <p:ph type="ftr" sz="quarter" idx="13"/>
          </p:nvPr>
        </p:nvSpPr>
        <p:spPr/>
        <p:txBody>
          <a:bodyPr/>
          <a:lstStyle/>
          <a:p>
            <a:r>
              <a:rPr lang="de-DE"/>
              <a:t>Kommunale Wärmeplanung Verbandsgemeinde Unkel</a:t>
            </a:r>
          </a:p>
        </p:txBody>
      </p:sp>
      <p:sp>
        <p:nvSpPr>
          <p:cNvPr id="7" name="Rechteck 6">
            <a:extLst>
              <a:ext uri="{FF2B5EF4-FFF2-40B4-BE49-F238E27FC236}">
                <a16:creationId xmlns:a16="http://schemas.microsoft.com/office/drawing/2014/main" id="{1FE26C91-7909-1704-AAD4-5799AE7204C3}"/>
              </a:ext>
            </a:extLst>
          </p:cNvPr>
          <p:cNvSpPr/>
          <p:nvPr/>
        </p:nvSpPr>
        <p:spPr bwMode="gray">
          <a:xfrm>
            <a:off x="4295775" y="5373216"/>
            <a:ext cx="7488237" cy="720080"/>
          </a:xfrm>
          <a:prstGeom prst="rect">
            <a:avLst/>
          </a:prstGeom>
          <a:solidFill>
            <a:schemeClr val="accent6"/>
          </a:solidFill>
        </p:spPr>
        <p:txBody>
          <a:bodyPr lIns="180000" tIns="36000" bIns="36000" anchor="ctr" anchorCtr="0"/>
          <a:lstStyle/>
          <a:p>
            <a:pPr marL="176213" indent="-176213">
              <a:buClr>
                <a:schemeClr val="tx2"/>
              </a:buClr>
              <a:buSzPct val="75000"/>
              <a:buFont typeface="Wingdings 3" panose="05040102010807070707" pitchFamily="18" charset="2"/>
              <a:buChar char="}"/>
            </a:pPr>
            <a:r>
              <a:rPr lang="de-DE">
                <a:solidFill>
                  <a:srgbClr val="DC0C23"/>
                </a:solidFill>
              </a:rPr>
              <a:t>rund 700 Mitarbeiter*innen</a:t>
            </a:r>
          </a:p>
          <a:p>
            <a:pPr marL="176213" indent="-176213">
              <a:buClr>
                <a:schemeClr val="tx2"/>
              </a:buClr>
              <a:buSzPct val="75000"/>
              <a:buFont typeface="Wingdings 3" panose="05040102010807070707" pitchFamily="18" charset="2"/>
              <a:buChar char="}"/>
            </a:pPr>
            <a:r>
              <a:rPr lang="de-DE">
                <a:solidFill>
                  <a:srgbClr val="DC0C23"/>
                </a:solidFill>
              </a:rPr>
              <a:t>rund 7.000 Mandanten</a:t>
            </a:r>
          </a:p>
        </p:txBody>
      </p:sp>
      <p:sp>
        <p:nvSpPr>
          <p:cNvPr id="12" name="Textfeld 11">
            <a:extLst>
              <a:ext uri="{FF2B5EF4-FFF2-40B4-BE49-F238E27FC236}">
                <a16:creationId xmlns:a16="http://schemas.microsoft.com/office/drawing/2014/main" id="{5721AD59-C8BD-7D9F-971D-03043B8A3A64}"/>
              </a:ext>
            </a:extLst>
          </p:cNvPr>
          <p:cNvSpPr txBox="1"/>
          <p:nvPr/>
        </p:nvSpPr>
        <p:spPr>
          <a:xfrm>
            <a:off x="415478" y="260350"/>
            <a:ext cx="10412585" cy="722347"/>
          </a:xfrm>
          <a:prstGeom prst="rect">
            <a:avLst/>
          </a:prstGeom>
          <a:noFill/>
        </p:spPr>
        <p:txBody>
          <a:bodyPr wrap="square" lIns="0" tIns="0" rIns="0" bIns="0" rtlCol="0" anchor="b" anchorCtr="0">
            <a:noAutofit/>
          </a:bodyPr>
          <a:lstStyle/>
          <a:p>
            <a:r>
              <a:rPr kumimoji="0" lang="de-DE" sz="2400" b="0" i="0" u="none" strike="noStrike" kern="1200" cap="none" spc="0" normalizeH="0" baseline="0" noProof="0">
                <a:ln>
                  <a:noFill/>
                </a:ln>
                <a:solidFill>
                  <a:srgbClr val="DC0C23"/>
                </a:solidFill>
                <a:effectLst/>
                <a:uLnTx/>
                <a:uFillTx/>
                <a:latin typeface="Cambria"/>
                <a:ea typeface="+mj-ea"/>
                <a:cs typeface="+mj-cs"/>
              </a:rPr>
              <a:t>Kurzprofil BBH-Gruppe</a:t>
            </a:r>
            <a:endParaRPr lang="de-DE"/>
          </a:p>
        </p:txBody>
      </p:sp>
      <p:graphicFrame>
        <p:nvGraphicFramePr>
          <p:cNvPr id="3" name="Objekt 2" hidden="1">
            <a:extLst>
              <a:ext uri="{FF2B5EF4-FFF2-40B4-BE49-F238E27FC236}">
                <a16:creationId xmlns:a16="http://schemas.microsoft.com/office/drawing/2014/main" id="{524BFA40-3E74-0DBE-0609-505575E3F1F4}"/>
              </a:ext>
            </a:extLst>
          </p:cNvPr>
          <p:cNvGraphicFramePr>
            <a:graphicFrameLocks noChangeAspect="1"/>
          </p:cNvGraphicFramePr>
          <p:nvPr userDrawn="1">
            <p:custDataLst>
              <p:tags r:id="rId2"/>
            </p:custDataLst>
            <p:extLst>
              <p:ext uri="{D42A27DB-BD31-4B8C-83A1-F6EECF244321}">
                <p14:modId xmlns:p14="http://schemas.microsoft.com/office/powerpoint/2010/main" val="1489471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02" imgH="398" progId="TCLayout.ActiveDocument.1">
                  <p:embed/>
                </p:oleObj>
              </mc:Choice>
              <mc:Fallback>
                <p:oleObj name="think-cell Folie" r:id="rId6" imgW="402" imgH="398" progId="TCLayout.ActiveDocument.1">
                  <p:embed/>
                  <p:pic>
                    <p:nvPicPr>
                      <p:cNvPr id="3" name="Objekt 2" hidden="1">
                        <a:extLst>
                          <a:ext uri="{FF2B5EF4-FFF2-40B4-BE49-F238E27FC236}">
                            <a16:creationId xmlns:a16="http://schemas.microsoft.com/office/drawing/2014/main" id="{524BFA40-3E74-0DBE-0609-505575E3F1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Bildplatzhalter 12">
            <a:extLst>
              <a:ext uri="{FF2B5EF4-FFF2-40B4-BE49-F238E27FC236}">
                <a16:creationId xmlns:a16="http://schemas.microsoft.com/office/drawing/2014/main" id="{BF87B71C-8C2A-C2A6-68BC-0EA77832F9D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bwMode="gray">
          <a:xfrm>
            <a:off x="407988" y="1773238"/>
            <a:ext cx="3600449" cy="4319587"/>
          </a:xfrm>
          <a:prstGeom prst="rect">
            <a:avLst/>
          </a:prstGeom>
        </p:spPr>
      </p:pic>
    </p:spTree>
    <p:extLst>
      <p:ext uri="{BB962C8B-B14F-4D97-AF65-F5344CB8AC3E}">
        <p14:creationId xmlns:p14="http://schemas.microsoft.com/office/powerpoint/2010/main" val="32902555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Unternehmensprofil-BBHC">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E2DBE60E-7F1A-50D3-0C67-A44BA9E3CCDB}"/>
              </a:ext>
            </a:extLst>
          </p:cNvPr>
          <p:cNvGraphicFramePr>
            <a:graphicFrameLocks noChangeAspect="1"/>
          </p:cNvGraphicFramePr>
          <p:nvPr>
            <p:custDataLst>
              <p:tags r:id="rId1"/>
            </p:custDataLst>
            <p:extLst>
              <p:ext uri="{D42A27DB-BD31-4B8C-83A1-F6EECF244321}">
                <p14:modId xmlns:p14="http://schemas.microsoft.com/office/powerpoint/2010/main" val="3865344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2" imgH="398" progId="TCLayout.ActiveDocument.1">
                  <p:embed/>
                </p:oleObj>
              </mc:Choice>
              <mc:Fallback>
                <p:oleObj name="think-cell Folie" r:id="rId4" imgW="402" imgH="398" progId="TCLayout.ActiveDocument.1">
                  <p:embed/>
                  <p:pic>
                    <p:nvPicPr>
                      <p:cNvPr id="10" name="Objekt 9" hidden="1">
                        <a:extLst>
                          <a:ext uri="{FF2B5EF4-FFF2-40B4-BE49-F238E27FC236}">
                            <a16:creationId xmlns:a16="http://schemas.microsoft.com/office/drawing/2014/main" id="{E2DBE60E-7F1A-50D3-0C67-A44BA9E3CC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feld 16">
            <a:extLst>
              <a:ext uri="{FF2B5EF4-FFF2-40B4-BE49-F238E27FC236}">
                <a16:creationId xmlns:a16="http://schemas.microsoft.com/office/drawing/2014/main" id="{4CA8ACD7-4189-D47B-112C-51C2F0B9507F}"/>
              </a:ext>
            </a:extLst>
          </p:cNvPr>
          <p:cNvSpPr txBox="1"/>
          <p:nvPr/>
        </p:nvSpPr>
        <p:spPr>
          <a:xfrm>
            <a:off x="4295801" y="1701800"/>
            <a:ext cx="7488212" cy="4391496"/>
          </a:xfrm>
          <a:prstGeom prst="rect">
            <a:avLst/>
          </a:prstGeom>
          <a:noFill/>
        </p:spPr>
        <p:txBody>
          <a:bodyPr wrap="square" lIns="0" tIns="0" rIns="0" bIns="0" rtlCol="0">
            <a:noAutofit/>
          </a:bodyPr>
          <a:lstStyle/>
          <a:p>
            <a:pPr marL="0" indent="0">
              <a:buNone/>
            </a:pPr>
            <a:r>
              <a:rPr lang="de-DE"/>
              <a:t>Die BBH Consulting AG unterstützt ihre Kunden mit Branchenschwerpunkt Energiewirtschaft, Industrie, Wohnungswirtschaft und weitere Infrastruktur-unternehmen bei ihren unternehmerischen und technischen </a:t>
            </a:r>
            <a:r>
              <a:rPr lang="de-DE" err="1"/>
              <a:t>Herausforde</a:t>
            </a:r>
            <a:r>
              <a:rPr lang="de-DE"/>
              <a:t>-rungen. Als breit aufgestellte Unternehmensberatung sind die Expert*innen </a:t>
            </a:r>
            <a:br>
              <a:rPr lang="de-DE"/>
            </a:br>
            <a:r>
              <a:rPr lang="de-DE"/>
              <a:t>der BBHC in den Fachthemen der gesamten energiewirtschaftlichen Wert-schöpfungskette spezialisiert. </a:t>
            </a:r>
          </a:p>
          <a:p>
            <a:pPr marL="0" indent="0">
              <a:buNone/>
            </a:pPr>
            <a:r>
              <a:rPr lang="de-DE"/>
              <a:t>Das betrifft die Bereiche Erzeugung, Handel &amp; Vertrieb, (Netz-)Technik, </a:t>
            </a:r>
            <a:br>
              <a:rPr lang="de-DE"/>
            </a:br>
            <a:r>
              <a:rPr lang="de-DE"/>
              <a:t>IT und Prozesse. Sie unterstützt Unternehmen darin, ihr Kerngeschäft zu sichern, aber auch neue Geschäftsmodelle zu entwickeln, und übernimmt Verantwortung für deren Umsetzung. </a:t>
            </a:r>
          </a:p>
          <a:p>
            <a:endParaRPr lang="de-DE"/>
          </a:p>
        </p:txBody>
      </p:sp>
      <p:sp>
        <p:nvSpPr>
          <p:cNvPr id="18" name="Textfeld 17">
            <a:extLst>
              <a:ext uri="{FF2B5EF4-FFF2-40B4-BE49-F238E27FC236}">
                <a16:creationId xmlns:a16="http://schemas.microsoft.com/office/drawing/2014/main" id="{F75CB163-2B0D-856B-210C-D990A8FEC6A1}"/>
              </a:ext>
            </a:extLst>
          </p:cNvPr>
          <p:cNvSpPr txBox="1"/>
          <p:nvPr/>
        </p:nvSpPr>
        <p:spPr>
          <a:xfrm>
            <a:off x="410491" y="260350"/>
            <a:ext cx="10409462" cy="710853"/>
          </a:xfrm>
          <a:prstGeom prst="rect">
            <a:avLst/>
          </a:prstGeom>
          <a:noFill/>
        </p:spPr>
        <p:txBody>
          <a:bodyPr wrap="square" lIns="0" tIns="0" rIns="0" bIns="0" rtlCol="0" anchor="b">
            <a:noAutofit/>
          </a:bodyPr>
          <a:lstStyle/>
          <a:p>
            <a:r>
              <a:rPr lang="de-DE" sz="2400">
                <a:solidFill>
                  <a:schemeClr val="tx2"/>
                </a:solidFill>
                <a:latin typeface="+mj-lt"/>
              </a:rPr>
              <a:t>Kurzprofil BBH Consulting AG</a:t>
            </a:r>
          </a:p>
        </p:txBody>
      </p:sp>
      <p:sp>
        <p:nvSpPr>
          <p:cNvPr id="2" name="Fußzeilenplatzhalter 1">
            <a:extLst>
              <a:ext uri="{FF2B5EF4-FFF2-40B4-BE49-F238E27FC236}">
                <a16:creationId xmlns:a16="http://schemas.microsoft.com/office/drawing/2014/main" id="{3978E7F5-D8F8-254D-FE5F-0B2A9549EF51}"/>
              </a:ext>
            </a:extLst>
          </p:cNvPr>
          <p:cNvSpPr>
            <a:spLocks noGrp="1"/>
          </p:cNvSpPr>
          <p:nvPr>
            <p:ph type="ftr" sz="quarter" idx="13"/>
          </p:nvPr>
        </p:nvSpPr>
        <p:spPr/>
        <p:txBody>
          <a:bodyPr/>
          <a:lstStyle/>
          <a:p>
            <a:r>
              <a:rPr lang="de-DE"/>
              <a:t>Kommunale Wärmeplanung Verbandsgemeinde Unkel</a:t>
            </a:r>
          </a:p>
        </p:txBody>
      </p:sp>
      <p:sp>
        <p:nvSpPr>
          <p:cNvPr id="8" name="Rechteck 7">
            <a:extLst>
              <a:ext uri="{FF2B5EF4-FFF2-40B4-BE49-F238E27FC236}">
                <a16:creationId xmlns:a16="http://schemas.microsoft.com/office/drawing/2014/main" id="{904A8D86-3C2B-AFC9-6535-37075C171CFF}"/>
              </a:ext>
            </a:extLst>
          </p:cNvPr>
          <p:cNvSpPr/>
          <p:nvPr/>
        </p:nvSpPr>
        <p:spPr bwMode="gray">
          <a:xfrm>
            <a:off x="4295775" y="5373216"/>
            <a:ext cx="7488237" cy="720080"/>
          </a:xfrm>
          <a:prstGeom prst="rect">
            <a:avLst/>
          </a:prstGeom>
          <a:solidFill>
            <a:schemeClr val="accent6"/>
          </a:solidFill>
        </p:spPr>
        <p:txBody>
          <a:bodyPr lIns="180000" tIns="36000" bIns="36000" anchor="ctr" anchorCtr="0"/>
          <a:lstStyle/>
          <a:p>
            <a:pPr marL="176213" indent="-176213">
              <a:buClr>
                <a:schemeClr val="tx2"/>
              </a:buClr>
              <a:buSzPct val="75000"/>
              <a:buFont typeface="Wingdings 3" panose="05040102010807070707" pitchFamily="18" charset="2"/>
              <a:buChar char="}"/>
            </a:pPr>
            <a:r>
              <a:rPr lang="de-DE">
                <a:solidFill>
                  <a:srgbClr val="DC0C23"/>
                </a:solidFill>
              </a:rPr>
              <a:t>gegründet 2010</a:t>
            </a:r>
          </a:p>
          <a:p>
            <a:pPr marL="176213" indent="-176213">
              <a:buClr>
                <a:schemeClr val="tx2"/>
              </a:buClr>
              <a:buSzPct val="75000"/>
              <a:buFont typeface="Wingdings 3" panose="05040102010807070707" pitchFamily="18" charset="2"/>
              <a:buChar char="}"/>
            </a:pPr>
            <a:r>
              <a:rPr lang="de-DE">
                <a:solidFill>
                  <a:srgbClr val="DC0C23"/>
                </a:solidFill>
              </a:rPr>
              <a:t>rund 70 Berater*innen in Berlin, München &amp; Köln</a:t>
            </a:r>
          </a:p>
        </p:txBody>
      </p:sp>
      <p:graphicFrame>
        <p:nvGraphicFramePr>
          <p:cNvPr id="3" name="Objekt 2" hidden="1">
            <a:extLst>
              <a:ext uri="{FF2B5EF4-FFF2-40B4-BE49-F238E27FC236}">
                <a16:creationId xmlns:a16="http://schemas.microsoft.com/office/drawing/2014/main" id="{F98EED6B-F209-2701-D40F-E4C041EBE3C5}"/>
              </a:ext>
            </a:extLst>
          </p:cNvPr>
          <p:cNvGraphicFramePr>
            <a:graphicFrameLocks noChangeAspect="1"/>
          </p:cNvGraphicFramePr>
          <p:nvPr userDrawn="1">
            <p:custDataLst>
              <p:tags r:id="rId2"/>
            </p:custDataLst>
            <p:extLst>
              <p:ext uri="{D42A27DB-BD31-4B8C-83A1-F6EECF244321}">
                <p14:modId xmlns:p14="http://schemas.microsoft.com/office/powerpoint/2010/main" val="3865344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02" imgH="398" progId="TCLayout.ActiveDocument.1">
                  <p:embed/>
                </p:oleObj>
              </mc:Choice>
              <mc:Fallback>
                <p:oleObj name="think-cell Folie" r:id="rId6" imgW="402" imgH="398" progId="TCLayout.ActiveDocument.1">
                  <p:embed/>
                  <p:pic>
                    <p:nvPicPr>
                      <p:cNvPr id="3" name="Objekt 2" hidden="1">
                        <a:extLst>
                          <a:ext uri="{FF2B5EF4-FFF2-40B4-BE49-F238E27FC236}">
                            <a16:creationId xmlns:a16="http://schemas.microsoft.com/office/drawing/2014/main" id="{F98EED6B-F209-2701-D40F-E4C041EBE3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Bildplatzhalter 10" descr="Ein Bild, das Tisch, drinnen enthält.&#10;&#10;Automatisch generierte Beschreibung">
            <a:extLst>
              <a:ext uri="{FF2B5EF4-FFF2-40B4-BE49-F238E27FC236}">
                <a16:creationId xmlns:a16="http://schemas.microsoft.com/office/drawing/2014/main" id="{925B4A62-A56C-C7CC-C22A-39ECFF3265B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gray">
          <a:xfrm>
            <a:off x="407988" y="1773238"/>
            <a:ext cx="3600449" cy="4319587"/>
          </a:xfrm>
          <a:prstGeom prst="rect">
            <a:avLst/>
          </a:prstGeom>
        </p:spPr>
      </p:pic>
    </p:spTree>
    <p:extLst>
      <p:ext uri="{BB962C8B-B14F-4D97-AF65-F5344CB8AC3E}">
        <p14:creationId xmlns:p14="http://schemas.microsoft.com/office/powerpoint/2010/main" val="2552808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Unternehmensprofil">
    <p:spTree>
      <p:nvGrpSpPr>
        <p:cNvPr id="1" name=""/>
        <p:cNvGrpSpPr/>
        <p:nvPr/>
      </p:nvGrpSpPr>
      <p:grpSpPr>
        <a:xfrm>
          <a:off x="0" y="0"/>
          <a:ext cx="0" cy="0"/>
          <a:chOff x="0" y="0"/>
          <a:chExt cx="0" cy="0"/>
        </a:xfrm>
      </p:grpSpPr>
      <p:sp>
        <p:nvSpPr>
          <p:cNvPr id="4" name="Bildplatzhalter 3"/>
          <p:cNvSpPr>
            <a:spLocks noGrp="1"/>
          </p:cNvSpPr>
          <p:nvPr>
            <p:ph type="pic" sz="quarter" idx="11" hasCustomPrompt="1"/>
          </p:nvPr>
        </p:nvSpPr>
        <p:spPr bwMode="gray">
          <a:xfrm>
            <a:off x="407988" y="1773238"/>
            <a:ext cx="3600449" cy="4319587"/>
          </a:xfrm>
          <a:prstGeom prst="rect">
            <a:avLst/>
          </a:prstGeom>
          <a:solidFill>
            <a:srgbClr val="FFC000"/>
          </a:solidFill>
        </p:spPr>
        <p:txBody>
          <a:bodyPr anchor="ctr" anchorCtr="0"/>
          <a:lstStyle>
            <a:lvl1pPr marL="0" indent="0" algn="ctr">
              <a:buNone/>
              <a:defRPr baseline="0"/>
            </a:lvl1pPr>
          </a:lstStyle>
          <a:p>
            <a:r>
              <a:rPr lang="de-DE"/>
              <a:t>Platzhalter für ein Bild, </a:t>
            </a:r>
            <a:br>
              <a:rPr lang="de-DE"/>
            </a:br>
            <a:r>
              <a:rPr lang="de-DE"/>
              <a:t>durch Klicken einfügen</a:t>
            </a:r>
            <a:br>
              <a:rPr lang="de-DE"/>
            </a:br>
            <a:r>
              <a:rPr lang="de-DE"/>
              <a:t>120 x 100 mm</a:t>
            </a:r>
          </a:p>
        </p:txBody>
      </p:sp>
      <p:sp>
        <p:nvSpPr>
          <p:cNvPr id="3" name="Titel 2">
            <a:extLst>
              <a:ext uri="{FF2B5EF4-FFF2-40B4-BE49-F238E27FC236}">
                <a16:creationId xmlns:a16="http://schemas.microsoft.com/office/drawing/2014/main" id="{14E875EE-2949-4DDD-AA4F-11D05683B694}"/>
              </a:ext>
            </a:extLst>
          </p:cNvPr>
          <p:cNvSpPr>
            <a:spLocks noGrp="1"/>
          </p:cNvSpPr>
          <p:nvPr>
            <p:ph type="title" hasCustomPrompt="1"/>
          </p:nvPr>
        </p:nvSpPr>
        <p:spPr bwMode="gray">
          <a:xfrm>
            <a:off x="415478" y="260350"/>
            <a:ext cx="10404475" cy="710853"/>
          </a:xfrm>
          <a:prstGeom prst="rect">
            <a:avLst/>
          </a:prstGeom>
        </p:spPr>
        <p:txBody>
          <a:bodyPr vert="horz"/>
          <a:lstStyle/>
          <a:p>
            <a:r>
              <a:rPr lang="de-DE"/>
              <a:t>Unternehmensprofil</a:t>
            </a:r>
          </a:p>
        </p:txBody>
      </p:sp>
      <p:sp>
        <p:nvSpPr>
          <p:cNvPr id="5" name="Inhaltsplatzhalter 4">
            <a:extLst>
              <a:ext uri="{FF2B5EF4-FFF2-40B4-BE49-F238E27FC236}">
                <a16:creationId xmlns:a16="http://schemas.microsoft.com/office/drawing/2014/main" id="{4F9CCF5B-1B8E-4329-9F70-6DE605F2692F}"/>
              </a:ext>
            </a:extLst>
          </p:cNvPr>
          <p:cNvSpPr>
            <a:spLocks noGrp="1"/>
          </p:cNvSpPr>
          <p:nvPr>
            <p:ph sz="quarter" idx="12" hasCustomPrompt="1"/>
          </p:nvPr>
        </p:nvSpPr>
        <p:spPr>
          <a:xfrm>
            <a:off x="4295775" y="1701800"/>
            <a:ext cx="7488238" cy="4391025"/>
          </a:xfrm>
        </p:spPr>
        <p:txBody>
          <a:bodyPr/>
          <a:lstStyle>
            <a:lvl6pPr marL="720725" indent="0">
              <a:buNone/>
              <a:defRPr/>
            </a:lvl6pPr>
          </a:lstStyle>
          <a:p>
            <a:pPr lvl="0"/>
            <a:r>
              <a:rPr lang="de-DE"/>
              <a:t>Text einfügen, Corbel 18-10 </a:t>
            </a:r>
            <a:r>
              <a:rPr lang="de-DE" err="1"/>
              <a:t>pt</a:t>
            </a:r>
            <a:r>
              <a:rPr lang="de-DE"/>
              <a:t>.</a:t>
            </a:r>
          </a:p>
          <a:p>
            <a:pPr lvl="1"/>
            <a:r>
              <a:rPr lang="de-DE"/>
              <a:t>Zweite Ebene</a:t>
            </a:r>
          </a:p>
          <a:p>
            <a:pPr lvl="2"/>
            <a:r>
              <a:rPr lang="de-DE"/>
              <a:t>Dritte Ebene</a:t>
            </a:r>
          </a:p>
        </p:txBody>
      </p:sp>
      <p:sp>
        <p:nvSpPr>
          <p:cNvPr id="2" name="Fußzeilenplatzhalter 1">
            <a:extLst>
              <a:ext uri="{FF2B5EF4-FFF2-40B4-BE49-F238E27FC236}">
                <a16:creationId xmlns:a16="http://schemas.microsoft.com/office/drawing/2014/main" id="{3978E7F5-D8F8-254D-FE5F-0B2A9549EF51}"/>
              </a:ext>
            </a:extLst>
          </p:cNvPr>
          <p:cNvSpPr>
            <a:spLocks noGrp="1"/>
          </p:cNvSpPr>
          <p:nvPr>
            <p:ph type="ftr" sz="quarter" idx="13"/>
          </p:nvPr>
        </p:nvSpPr>
        <p:spPr/>
        <p:txBody>
          <a:bodyPr/>
          <a:lstStyle/>
          <a:p>
            <a:r>
              <a:rPr lang="de-DE"/>
              <a:t>Kommunale Wärmeplanung Verbandsgemeinde Unkel</a:t>
            </a:r>
          </a:p>
        </p:txBody>
      </p:sp>
    </p:spTree>
    <p:extLst>
      <p:ext uri="{BB962C8B-B14F-4D97-AF65-F5344CB8AC3E}">
        <p14:creationId xmlns:p14="http://schemas.microsoft.com/office/powerpoint/2010/main" val="17602595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benslauf-Text">
    <p:spTree>
      <p:nvGrpSpPr>
        <p:cNvPr id="1" name=""/>
        <p:cNvGrpSpPr/>
        <p:nvPr/>
      </p:nvGrpSpPr>
      <p:grpSpPr>
        <a:xfrm>
          <a:off x="0" y="0"/>
          <a:ext cx="0" cy="0"/>
          <a:chOff x="0" y="0"/>
          <a:chExt cx="0" cy="0"/>
        </a:xfrm>
      </p:grpSpPr>
      <p:sp>
        <p:nvSpPr>
          <p:cNvPr id="7" name="Inhaltsplatzhalter 6"/>
          <p:cNvSpPr>
            <a:spLocks noGrp="1"/>
          </p:cNvSpPr>
          <p:nvPr>
            <p:ph sz="quarter" idx="10" hasCustomPrompt="1"/>
          </p:nvPr>
        </p:nvSpPr>
        <p:spPr bwMode="gray">
          <a:xfrm>
            <a:off x="3324225" y="1699200"/>
            <a:ext cx="8459788" cy="3456000"/>
          </a:xfrm>
          <a:prstGeom prst="rect">
            <a:avLst/>
          </a:prstGeom>
          <a:ln>
            <a:noFill/>
          </a:ln>
        </p:spPr>
        <p:txBody>
          <a:bodyPr wrap="square">
            <a:noAutofit/>
          </a:bodyPr>
          <a:lstStyle>
            <a:lvl1pPr marL="0" indent="0">
              <a:spcBef>
                <a:spcPts val="600"/>
              </a:spcBef>
              <a:spcAft>
                <a:spcPts val="0"/>
              </a:spcAft>
              <a:buSzPct val="75000"/>
              <a:buFontTx/>
              <a:buNone/>
              <a:defRPr lang="de-DE" sz="1800" smtClean="0"/>
            </a:lvl1pPr>
            <a:lvl2pPr marL="252000" indent="-252000">
              <a:spcBef>
                <a:spcPts val="300"/>
              </a:spcBef>
              <a:spcAft>
                <a:spcPts val="0"/>
              </a:spcAft>
              <a:buSzPct val="75000"/>
              <a:buFont typeface="Wingdings 3" panose="05040102010807070707" pitchFamily="18" charset="2"/>
              <a:buChar char="}"/>
              <a:tabLst/>
              <a:defRPr sz="1600"/>
            </a:lvl2pPr>
            <a:lvl3pPr marL="252000" indent="-252000">
              <a:spcBef>
                <a:spcPts val="300"/>
              </a:spcBef>
              <a:spcAft>
                <a:spcPts val="0"/>
              </a:spcAft>
              <a:buSzPct val="75000"/>
              <a:buFont typeface="Wingdings 3" panose="05040102010807070707" pitchFamily="18" charset="2"/>
              <a:buChar char="}"/>
              <a:tabLst/>
              <a:defRPr sz="1600"/>
            </a:lvl3pPr>
            <a:lvl4pPr marL="252000" indent="-252000">
              <a:spcBef>
                <a:spcPts val="300"/>
              </a:spcBef>
              <a:spcAft>
                <a:spcPts val="0"/>
              </a:spcAft>
              <a:buSzPct val="75000"/>
              <a:buFont typeface="Wingdings 3" panose="05040102010807070707" pitchFamily="18" charset="2"/>
              <a:buChar char="}"/>
              <a:tabLst/>
              <a:defRPr sz="1600"/>
            </a:lvl4pPr>
            <a:lvl5pPr marL="252000" indent="-252000">
              <a:spcBef>
                <a:spcPts val="300"/>
              </a:spcBef>
              <a:spcAft>
                <a:spcPts val="0"/>
              </a:spcAft>
              <a:buSzPct val="75000"/>
              <a:buFont typeface="Wingdings 3" panose="05040102010807070707" pitchFamily="18" charset="2"/>
              <a:buChar char="}"/>
              <a:tabLst/>
              <a:defRPr sz="1600"/>
            </a:lvl5pPr>
            <a:lvl6pPr marL="252000" indent="-252000">
              <a:spcBef>
                <a:spcPts val="300"/>
              </a:spcBef>
              <a:spcAft>
                <a:spcPts val="0"/>
              </a:spcAft>
              <a:buFont typeface="Wingdings 3" panose="05040102010807070707" pitchFamily="18" charset="2"/>
              <a:buChar char="}"/>
              <a:defRPr sz="1600"/>
            </a:lvl6pPr>
            <a:lvl7pPr marL="252000" indent="-252000">
              <a:spcBef>
                <a:spcPts val="300"/>
              </a:spcBef>
              <a:spcAft>
                <a:spcPts val="0"/>
              </a:spcAft>
              <a:buFont typeface="Wingdings 3" panose="05040102010807070707" pitchFamily="18" charset="2"/>
              <a:buChar char="}"/>
              <a:defRPr sz="1600"/>
            </a:lvl7pPr>
            <a:lvl8pPr marL="252000" indent="-252000">
              <a:spcBef>
                <a:spcPts val="300"/>
              </a:spcBef>
              <a:spcAft>
                <a:spcPts val="0"/>
              </a:spcAft>
              <a:buFont typeface="Wingdings 3" panose="05040102010807070707" pitchFamily="18" charset="2"/>
              <a:buChar char="}"/>
              <a:defRPr sz="1600"/>
            </a:lvl8pPr>
            <a:lvl9pPr marL="252000" indent="-252000">
              <a:spcBef>
                <a:spcPts val="300"/>
              </a:spcBef>
              <a:spcAft>
                <a:spcPts val="0"/>
              </a:spcAft>
              <a:buFont typeface="Wingdings 3" panose="05040102010807070707" pitchFamily="18" charset="2"/>
              <a:buChar char="}"/>
              <a:defRPr sz="1600"/>
            </a:lvl9pPr>
          </a:lstStyle>
          <a:p>
            <a:pPr lvl="0"/>
            <a:r>
              <a:rPr lang="de-DE"/>
              <a:t>Text Portrait Mitarbeiter, Corbel 18 </a:t>
            </a:r>
            <a:r>
              <a:rPr lang="de-DE" err="1"/>
              <a:t>pt</a:t>
            </a:r>
            <a:r>
              <a:rPr lang="de-DE"/>
              <a:t>.</a:t>
            </a:r>
          </a:p>
          <a:p>
            <a:pPr lvl="1"/>
            <a:r>
              <a:rPr lang="de-DE"/>
              <a:t>Kompetenzen Mitarbeiter, Corbel 16 </a:t>
            </a:r>
            <a:r>
              <a:rPr lang="de-DE" err="1"/>
              <a:t>pt</a:t>
            </a:r>
            <a:r>
              <a:rPr lang="de-DE"/>
              <a:t>.</a:t>
            </a:r>
          </a:p>
        </p:txBody>
      </p:sp>
      <p:sp>
        <p:nvSpPr>
          <p:cNvPr id="4" name="Bildplatzhalter 3"/>
          <p:cNvSpPr>
            <a:spLocks noGrp="1"/>
          </p:cNvSpPr>
          <p:nvPr>
            <p:ph type="pic" sz="quarter" idx="11" hasCustomPrompt="1"/>
          </p:nvPr>
        </p:nvSpPr>
        <p:spPr bwMode="gray">
          <a:xfrm>
            <a:off x="407988" y="1773238"/>
            <a:ext cx="2627312" cy="3023570"/>
          </a:xfrm>
          <a:prstGeom prst="rect">
            <a:avLst/>
          </a:prstGeom>
          <a:solidFill>
            <a:srgbClr val="FFC000"/>
          </a:solidFill>
        </p:spPr>
        <p:txBody>
          <a:bodyPr anchor="ctr" anchorCtr="0"/>
          <a:lstStyle>
            <a:lvl1pPr marL="0" indent="0" algn="ctr">
              <a:buNone/>
              <a:defRPr/>
            </a:lvl1pPr>
          </a:lstStyle>
          <a:p>
            <a:r>
              <a:rPr lang="de-DE"/>
              <a:t>Platzhalter für ein Bild, durch Klicken einfügen,</a:t>
            </a:r>
          </a:p>
          <a:p>
            <a:r>
              <a:rPr lang="de-DE"/>
              <a:t>84 x 73 mm</a:t>
            </a:r>
          </a:p>
        </p:txBody>
      </p:sp>
      <p:sp>
        <p:nvSpPr>
          <p:cNvPr id="9" name="Textplatzhalter 4"/>
          <p:cNvSpPr>
            <a:spLocks noGrp="1"/>
          </p:cNvSpPr>
          <p:nvPr>
            <p:ph type="body" sz="quarter" idx="14" hasCustomPrompt="1"/>
          </p:nvPr>
        </p:nvSpPr>
        <p:spPr bwMode="gray">
          <a:xfrm>
            <a:off x="407987" y="5373256"/>
            <a:ext cx="11376026" cy="360000"/>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36000" rIns="90000" bIns="36000" rtlCol="0" anchor="b" anchorCtr="0">
            <a:noAutofit/>
          </a:bodyPr>
          <a:lstStyle>
            <a:lvl1pPr marL="0" indent="0">
              <a:spcBef>
                <a:spcPts val="300"/>
              </a:spcBef>
              <a:spcAft>
                <a:spcPts val="0"/>
              </a:spcAft>
              <a:buFont typeface="Marlett" pitchFamily="2" charset="2"/>
              <a:buNone/>
              <a:defRPr lang="de-DE" sz="1600" b="1" baseline="0" dirty="0">
                <a:solidFill>
                  <a:schemeClr val="tx2"/>
                </a:solidFill>
                <a:latin typeface="+mn-lt"/>
              </a:defRPr>
            </a:lvl1pPr>
          </a:lstStyle>
          <a:p>
            <a:pPr marL="0" lvl="0"/>
            <a:r>
              <a:rPr lang="de-DE"/>
              <a:t>Funktion 1 · Funktion 2</a:t>
            </a:r>
          </a:p>
        </p:txBody>
      </p:sp>
      <p:sp>
        <p:nvSpPr>
          <p:cNvPr id="11" name="Textplatzhalter 4"/>
          <p:cNvSpPr>
            <a:spLocks noGrp="1"/>
          </p:cNvSpPr>
          <p:nvPr>
            <p:ph type="body" sz="quarter" idx="15" hasCustomPrompt="1"/>
          </p:nvPr>
        </p:nvSpPr>
        <p:spPr bwMode="gray">
          <a:xfrm>
            <a:off x="407987" y="5733296"/>
            <a:ext cx="11376026" cy="360000"/>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36000" rIns="90000" bIns="36000" rtlCol="0" anchor="t" anchorCtr="0">
            <a:noAutofit/>
          </a:bodyPr>
          <a:lstStyle>
            <a:lvl1pPr marL="0" indent="0">
              <a:spcBef>
                <a:spcPts val="300"/>
              </a:spcBef>
              <a:spcAft>
                <a:spcPts val="0"/>
              </a:spcAft>
              <a:buFont typeface="Marlett" pitchFamily="2" charset="2"/>
              <a:buNone/>
              <a:defRPr lang="de-DE" sz="1600" b="0" baseline="0" dirty="0">
                <a:solidFill>
                  <a:schemeClr val="tx2"/>
                </a:solidFill>
                <a:latin typeface="+mn-lt"/>
              </a:defRPr>
            </a:lvl1pPr>
          </a:lstStyle>
          <a:p>
            <a:pPr marL="0" lvl="0"/>
            <a:r>
              <a:rPr lang="de-DE"/>
              <a:t>PLZ Ort · Straße </a:t>
            </a:r>
            <a:r>
              <a:rPr lang="de-DE" err="1"/>
              <a:t>Nr</a:t>
            </a:r>
            <a:r>
              <a:rPr lang="de-DE"/>
              <a:t> · Tel +49 (0)XYZ · vorname.nachname@bbh-online.de</a:t>
            </a:r>
          </a:p>
        </p:txBody>
      </p:sp>
      <p:sp>
        <p:nvSpPr>
          <p:cNvPr id="3" name="Titel 2">
            <a:extLst>
              <a:ext uri="{FF2B5EF4-FFF2-40B4-BE49-F238E27FC236}">
                <a16:creationId xmlns:a16="http://schemas.microsoft.com/office/drawing/2014/main" id="{24A1284E-F55C-4CC5-B80C-7CB0F88BEB0C}"/>
              </a:ext>
            </a:extLst>
          </p:cNvPr>
          <p:cNvSpPr>
            <a:spLocks noGrp="1"/>
          </p:cNvSpPr>
          <p:nvPr>
            <p:ph type="title" hasCustomPrompt="1"/>
          </p:nvPr>
        </p:nvSpPr>
        <p:spPr bwMode="gray">
          <a:xfrm>
            <a:off x="415478" y="260350"/>
            <a:ext cx="10404475" cy="710853"/>
          </a:xfrm>
          <a:prstGeom prst="rect">
            <a:avLst/>
          </a:prstGeom>
        </p:spPr>
        <p:txBody>
          <a:bodyPr vert="horz"/>
          <a:lstStyle/>
          <a:p>
            <a:r>
              <a:rPr lang="de-DE"/>
              <a:t>Titel Vorname Nachname</a:t>
            </a:r>
          </a:p>
        </p:txBody>
      </p:sp>
      <p:sp>
        <p:nvSpPr>
          <p:cNvPr id="2" name="Fußzeilenplatzhalter 1">
            <a:extLst>
              <a:ext uri="{FF2B5EF4-FFF2-40B4-BE49-F238E27FC236}">
                <a16:creationId xmlns:a16="http://schemas.microsoft.com/office/drawing/2014/main" id="{8100CE59-F856-AD17-CD19-F8C72DD063A9}"/>
              </a:ext>
            </a:extLst>
          </p:cNvPr>
          <p:cNvSpPr>
            <a:spLocks noGrp="1"/>
          </p:cNvSpPr>
          <p:nvPr>
            <p:ph type="ftr" sz="quarter" idx="16"/>
          </p:nvPr>
        </p:nvSpPr>
        <p:spPr/>
        <p:txBody>
          <a:bodyPr/>
          <a:lstStyle/>
          <a:p>
            <a:r>
              <a:rPr lang="de-DE"/>
              <a:t>Kommunale Wärmeplanung Verbandsgemeinde Unkel</a:t>
            </a:r>
          </a:p>
        </p:txBody>
      </p:sp>
    </p:spTree>
    <p:extLst>
      <p:ext uri="{BB962C8B-B14F-4D97-AF65-F5344CB8AC3E}">
        <p14:creationId xmlns:p14="http://schemas.microsoft.com/office/powerpoint/2010/main" val="33965735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benslauf_Spalte">
    <p:spTree>
      <p:nvGrpSpPr>
        <p:cNvPr id="1" name=""/>
        <p:cNvGrpSpPr/>
        <p:nvPr/>
      </p:nvGrpSpPr>
      <p:grpSpPr>
        <a:xfrm>
          <a:off x="0" y="0"/>
          <a:ext cx="0" cy="0"/>
          <a:chOff x="0" y="0"/>
          <a:chExt cx="0" cy="0"/>
        </a:xfrm>
      </p:grpSpPr>
      <p:sp>
        <p:nvSpPr>
          <p:cNvPr id="4" name="Bildplatzhalter 3"/>
          <p:cNvSpPr>
            <a:spLocks noGrp="1"/>
          </p:cNvSpPr>
          <p:nvPr>
            <p:ph type="pic" sz="quarter" idx="11" hasCustomPrompt="1"/>
          </p:nvPr>
        </p:nvSpPr>
        <p:spPr bwMode="gray">
          <a:xfrm>
            <a:off x="407988" y="1773238"/>
            <a:ext cx="2627312" cy="3023570"/>
          </a:xfrm>
          <a:prstGeom prst="rect">
            <a:avLst/>
          </a:prstGeom>
          <a:solidFill>
            <a:srgbClr val="FFC000"/>
          </a:solidFill>
        </p:spPr>
        <p:txBody>
          <a:bodyPr anchor="ctr" anchorCtr="0"/>
          <a:lstStyle>
            <a:lvl1pPr marL="0" indent="0" algn="ctr">
              <a:buNone/>
              <a:defRPr/>
            </a:lvl1pPr>
          </a:lstStyle>
          <a:p>
            <a:r>
              <a:rPr lang="de-DE"/>
              <a:t>Platzhalter für ein Bild, durch Klicken einfügen,</a:t>
            </a:r>
          </a:p>
          <a:p>
            <a:r>
              <a:rPr lang="de-DE"/>
              <a:t>84 x 73 mm</a:t>
            </a:r>
          </a:p>
        </p:txBody>
      </p:sp>
      <p:sp>
        <p:nvSpPr>
          <p:cNvPr id="9" name="Textplatzhalter 4"/>
          <p:cNvSpPr>
            <a:spLocks noGrp="1"/>
          </p:cNvSpPr>
          <p:nvPr>
            <p:ph type="body" sz="quarter" idx="14" hasCustomPrompt="1"/>
          </p:nvPr>
        </p:nvSpPr>
        <p:spPr bwMode="gray">
          <a:xfrm>
            <a:off x="407368" y="5374050"/>
            <a:ext cx="2619822" cy="360000"/>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36000" rIns="90000" bIns="36000" rtlCol="0" anchor="b" anchorCtr="0">
            <a:noAutofit/>
          </a:bodyPr>
          <a:lstStyle>
            <a:lvl1pPr marL="0" indent="0">
              <a:spcBef>
                <a:spcPts val="300"/>
              </a:spcBef>
              <a:spcAft>
                <a:spcPts val="0"/>
              </a:spcAft>
              <a:buFont typeface="Marlett" pitchFamily="2" charset="2"/>
              <a:buNone/>
              <a:defRPr lang="de-DE" sz="1600" b="1" baseline="0" dirty="0">
                <a:solidFill>
                  <a:schemeClr val="tx2"/>
                </a:solidFill>
                <a:latin typeface="+mn-lt"/>
              </a:defRPr>
            </a:lvl1pPr>
          </a:lstStyle>
          <a:p>
            <a:pPr marL="0" lvl="0"/>
            <a:r>
              <a:rPr lang="de-DE"/>
              <a:t>Funktion 1 · Funktion 2</a:t>
            </a:r>
          </a:p>
        </p:txBody>
      </p:sp>
      <p:sp>
        <p:nvSpPr>
          <p:cNvPr id="11" name="Textplatzhalter 4"/>
          <p:cNvSpPr>
            <a:spLocks noGrp="1"/>
          </p:cNvSpPr>
          <p:nvPr>
            <p:ph type="body" sz="quarter" idx="15" hasCustomPrompt="1"/>
          </p:nvPr>
        </p:nvSpPr>
        <p:spPr bwMode="gray">
          <a:xfrm>
            <a:off x="407368" y="5735658"/>
            <a:ext cx="2619822" cy="360000"/>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36000" rIns="90000" bIns="36000" rtlCol="0" anchor="t" anchorCtr="0">
            <a:noAutofit/>
          </a:bodyPr>
          <a:lstStyle>
            <a:lvl1pPr marL="0" indent="0">
              <a:spcBef>
                <a:spcPts val="300"/>
              </a:spcBef>
              <a:spcAft>
                <a:spcPts val="0"/>
              </a:spcAft>
              <a:buFont typeface="Marlett" pitchFamily="2" charset="2"/>
              <a:buNone/>
              <a:defRPr lang="de-DE" sz="1600" b="0" baseline="0" dirty="0">
                <a:solidFill>
                  <a:schemeClr val="tx2"/>
                </a:solidFill>
                <a:latin typeface="+mn-lt"/>
              </a:defRPr>
            </a:lvl1pPr>
          </a:lstStyle>
          <a:p>
            <a:pPr marL="0" lvl="0"/>
            <a:r>
              <a:rPr lang="de-DE"/>
              <a:t>Standort</a:t>
            </a:r>
          </a:p>
        </p:txBody>
      </p:sp>
      <p:sp>
        <p:nvSpPr>
          <p:cNvPr id="3" name="Titel 2">
            <a:extLst>
              <a:ext uri="{FF2B5EF4-FFF2-40B4-BE49-F238E27FC236}">
                <a16:creationId xmlns:a16="http://schemas.microsoft.com/office/drawing/2014/main" id="{24A1284E-F55C-4CC5-B80C-7CB0F88BEB0C}"/>
              </a:ext>
            </a:extLst>
          </p:cNvPr>
          <p:cNvSpPr>
            <a:spLocks noGrp="1"/>
          </p:cNvSpPr>
          <p:nvPr>
            <p:ph type="title" hasCustomPrompt="1"/>
          </p:nvPr>
        </p:nvSpPr>
        <p:spPr bwMode="gray">
          <a:xfrm>
            <a:off x="415478" y="260350"/>
            <a:ext cx="10404475" cy="710853"/>
          </a:xfrm>
          <a:prstGeom prst="rect">
            <a:avLst/>
          </a:prstGeom>
        </p:spPr>
        <p:txBody>
          <a:bodyPr vert="horz"/>
          <a:lstStyle/>
          <a:p>
            <a:r>
              <a:rPr lang="de-DE"/>
              <a:t>Titel Vorname Nachname</a:t>
            </a:r>
          </a:p>
        </p:txBody>
      </p:sp>
      <p:sp>
        <p:nvSpPr>
          <p:cNvPr id="2" name="Fußzeilenplatzhalter 1">
            <a:extLst>
              <a:ext uri="{FF2B5EF4-FFF2-40B4-BE49-F238E27FC236}">
                <a16:creationId xmlns:a16="http://schemas.microsoft.com/office/drawing/2014/main" id="{8100CE59-F856-AD17-CD19-F8C72DD063A9}"/>
              </a:ext>
            </a:extLst>
          </p:cNvPr>
          <p:cNvSpPr>
            <a:spLocks noGrp="1"/>
          </p:cNvSpPr>
          <p:nvPr>
            <p:ph type="ftr" sz="quarter" idx="16"/>
          </p:nvPr>
        </p:nvSpPr>
        <p:spPr/>
        <p:txBody>
          <a:bodyPr/>
          <a:lstStyle/>
          <a:p>
            <a:r>
              <a:rPr lang="de-DE"/>
              <a:t>Kommunale Wärmeplanung Verbandsgemeinde Unkel</a:t>
            </a:r>
          </a:p>
        </p:txBody>
      </p:sp>
      <p:sp>
        <p:nvSpPr>
          <p:cNvPr id="5" name="Inhaltsplatzhalter 3">
            <a:extLst>
              <a:ext uri="{FF2B5EF4-FFF2-40B4-BE49-F238E27FC236}">
                <a16:creationId xmlns:a16="http://schemas.microsoft.com/office/drawing/2014/main" id="{236B4BF2-B9DA-013E-471D-27831F0998F4}"/>
              </a:ext>
            </a:extLst>
          </p:cNvPr>
          <p:cNvSpPr>
            <a:spLocks noGrp="1"/>
          </p:cNvSpPr>
          <p:nvPr>
            <p:ph sz="quarter" idx="17" hasCustomPrompt="1"/>
          </p:nvPr>
        </p:nvSpPr>
        <p:spPr bwMode="gray">
          <a:xfrm>
            <a:off x="3324224" y="2060847"/>
            <a:ext cx="4041310" cy="4035282"/>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p:txBody>
      </p:sp>
      <p:sp>
        <p:nvSpPr>
          <p:cNvPr id="6" name="Inhaltsplatzhalter 3">
            <a:extLst>
              <a:ext uri="{FF2B5EF4-FFF2-40B4-BE49-F238E27FC236}">
                <a16:creationId xmlns:a16="http://schemas.microsoft.com/office/drawing/2014/main" id="{6C492C61-76E1-7E65-04F3-0C41E4F1036B}"/>
              </a:ext>
            </a:extLst>
          </p:cNvPr>
          <p:cNvSpPr>
            <a:spLocks noGrp="1"/>
          </p:cNvSpPr>
          <p:nvPr>
            <p:ph sz="quarter" idx="12" hasCustomPrompt="1"/>
          </p:nvPr>
        </p:nvSpPr>
        <p:spPr bwMode="gray">
          <a:xfrm>
            <a:off x="7741213" y="2060376"/>
            <a:ext cx="4042800" cy="4035282"/>
          </a:xfrm>
        </p:spPr>
        <p:txBody>
          <a:bodyPr>
            <a:noAutofit/>
          </a:bodyPr>
          <a:lstStyle>
            <a:lvl1pPr>
              <a:buClr>
                <a:schemeClr val="tx2"/>
              </a:buClr>
              <a:defRPr/>
            </a:lvl1pPr>
            <a:lvl2pPr>
              <a:buClr>
                <a:schemeClr val="tx2"/>
              </a:buClr>
              <a:defRPr/>
            </a:lvl2pPr>
            <a:lvl3pPr>
              <a:buClr>
                <a:schemeClr val="tx2"/>
              </a:buClr>
              <a:defRPr/>
            </a:lvl3pPr>
            <a:lvl4pPr marL="534987" indent="0">
              <a:buClr>
                <a:schemeClr val="tx2"/>
              </a:buClr>
              <a:buNone/>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p:txBody>
      </p:sp>
      <p:sp>
        <p:nvSpPr>
          <p:cNvPr id="8" name="Textfeld 7">
            <a:extLst>
              <a:ext uri="{FF2B5EF4-FFF2-40B4-BE49-F238E27FC236}">
                <a16:creationId xmlns:a16="http://schemas.microsoft.com/office/drawing/2014/main" id="{E0EB0C1C-22AE-9E24-C8A3-018BDE1018CA}"/>
              </a:ext>
            </a:extLst>
          </p:cNvPr>
          <p:cNvSpPr txBox="1"/>
          <p:nvPr/>
        </p:nvSpPr>
        <p:spPr>
          <a:xfrm>
            <a:off x="3328954" y="1702267"/>
            <a:ext cx="2806706" cy="276999"/>
          </a:xfrm>
          <a:prstGeom prst="rect">
            <a:avLst/>
          </a:prstGeom>
          <a:noFill/>
        </p:spPr>
        <p:txBody>
          <a:bodyPr wrap="square" lIns="0" tIns="0" rIns="0" bIns="0" rtlCol="0">
            <a:spAutoFit/>
          </a:bodyPr>
          <a:lstStyle/>
          <a:p>
            <a:r>
              <a:rPr lang="de-DE">
                <a:solidFill>
                  <a:schemeClr val="accent5"/>
                </a:solidFill>
                <a:latin typeface="+mj-lt"/>
              </a:rPr>
              <a:t>BERUFSERFAHRUNG</a:t>
            </a:r>
          </a:p>
        </p:txBody>
      </p:sp>
      <p:sp>
        <p:nvSpPr>
          <p:cNvPr id="10" name="Textfeld 9">
            <a:extLst>
              <a:ext uri="{FF2B5EF4-FFF2-40B4-BE49-F238E27FC236}">
                <a16:creationId xmlns:a16="http://schemas.microsoft.com/office/drawing/2014/main" id="{4FC80582-9FAB-EC60-A82F-9257EA5AE947}"/>
              </a:ext>
            </a:extLst>
          </p:cNvPr>
          <p:cNvSpPr txBox="1"/>
          <p:nvPr/>
        </p:nvSpPr>
        <p:spPr>
          <a:xfrm>
            <a:off x="7741213" y="1700808"/>
            <a:ext cx="2810667" cy="276999"/>
          </a:xfrm>
          <a:prstGeom prst="rect">
            <a:avLst/>
          </a:prstGeom>
          <a:noFill/>
        </p:spPr>
        <p:txBody>
          <a:bodyPr wrap="square" lIns="0" tIns="0" rIns="0" bIns="0" rtlCol="0">
            <a:spAutoFit/>
          </a:bodyPr>
          <a:lstStyle/>
          <a:p>
            <a:r>
              <a:rPr lang="de-DE">
                <a:solidFill>
                  <a:schemeClr val="accent5"/>
                </a:solidFill>
                <a:latin typeface="+mj-lt"/>
              </a:rPr>
              <a:t>EXPERTISE &amp; PROJEKTE</a:t>
            </a:r>
          </a:p>
        </p:txBody>
      </p:sp>
      <p:sp>
        <p:nvSpPr>
          <p:cNvPr id="7" name="Textfeld 6">
            <a:extLst>
              <a:ext uri="{FF2B5EF4-FFF2-40B4-BE49-F238E27FC236}">
                <a16:creationId xmlns:a16="http://schemas.microsoft.com/office/drawing/2014/main" id="{3769FDDC-A268-730C-AF41-9B2C09BFCC7F}"/>
              </a:ext>
            </a:extLst>
          </p:cNvPr>
          <p:cNvSpPr txBox="1"/>
          <p:nvPr userDrawn="1"/>
        </p:nvSpPr>
        <p:spPr>
          <a:xfrm>
            <a:off x="3328954" y="1702267"/>
            <a:ext cx="2806706" cy="276999"/>
          </a:xfrm>
          <a:prstGeom prst="rect">
            <a:avLst/>
          </a:prstGeom>
          <a:noFill/>
        </p:spPr>
        <p:txBody>
          <a:bodyPr wrap="square" lIns="0" tIns="0" rIns="0" bIns="0" rtlCol="0">
            <a:spAutoFit/>
          </a:bodyPr>
          <a:lstStyle/>
          <a:p>
            <a:r>
              <a:rPr lang="de-DE">
                <a:solidFill>
                  <a:schemeClr val="accent2"/>
                </a:solidFill>
                <a:latin typeface="+mj-lt"/>
              </a:rPr>
              <a:t>BERUFSERFAHRUNG</a:t>
            </a:r>
          </a:p>
        </p:txBody>
      </p:sp>
      <p:sp>
        <p:nvSpPr>
          <p:cNvPr id="12" name="Textfeld 11">
            <a:extLst>
              <a:ext uri="{FF2B5EF4-FFF2-40B4-BE49-F238E27FC236}">
                <a16:creationId xmlns:a16="http://schemas.microsoft.com/office/drawing/2014/main" id="{1CE7C49E-592F-9C0A-93B2-FBF1F7DCCC73}"/>
              </a:ext>
            </a:extLst>
          </p:cNvPr>
          <p:cNvSpPr txBox="1"/>
          <p:nvPr userDrawn="1"/>
        </p:nvSpPr>
        <p:spPr>
          <a:xfrm>
            <a:off x="7741213" y="1700808"/>
            <a:ext cx="2810667" cy="276999"/>
          </a:xfrm>
          <a:prstGeom prst="rect">
            <a:avLst/>
          </a:prstGeom>
          <a:noFill/>
        </p:spPr>
        <p:txBody>
          <a:bodyPr wrap="square" lIns="0" tIns="0" rIns="0" bIns="0" rtlCol="0">
            <a:spAutoFit/>
          </a:bodyPr>
          <a:lstStyle/>
          <a:p>
            <a:r>
              <a:rPr lang="de-DE">
                <a:solidFill>
                  <a:schemeClr val="accent2"/>
                </a:solidFill>
                <a:latin typeface="+mj-lt"/>
              </a:rPr>
              <a:t>EXPERTISE &amp; PROJEKTE</a:t>
            </a:r>
          </a:p>
        </p:txBody>
      </p:sp>
    </p:spTree>
    <p:extLst>
      <p:ext uri="{BB962C8B-B14F-4D97-AF65-F5344CB8AC3E}">
        <p14:creationId xmlns:p14="http://schemas.microsoft.com/office/powerpoint/2010/main" val="3167561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mit Mandantenlogo">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5A991D01-452C-4D69-8309-D20F6510166F}"/>
              </a:ext>
            </a:extLst>
          </p:cNvPr>
          <p:cNvSpPr>
            <a:spLocks noGrp="1"/>
          </p:cNvSpPr>
          <p:nvPr>
            <p:ph sz="quarter" idx="12" hasCustomPrompt="1"/>
          </p:nvPr>
        </p:nvSpPr>
        <p:spPr>
          <a:xfrm>
            <a:off x="4295775" y="1557338"/>
            <a:ext cx="3600449" cy="1366837"/>
          </a:xfrm>
          <a:noFill/>
        </p:spPr>
        <p:txBody>
          <a:bodyPr anchor="ctr"/>
          <a:lstStyle>
            <a:lvl1pPr marL="0" indent="0" algn="ctr">
              <a:lnSpc>
                <a:spcPct val="100000"/>
              </a:lnSpc>
              <a:spcBef>
                <a:spcPts val="0"/>
              </a:spcBef>
              <a:spcAft>
                <a:spcPts val="0"/>
              </a:spcAft>
              <a:buFont typeface="Arial" panose="020B0604020202020204" pitchFamily="34" charset="0"/>
              <a:buNone/>
              <a:defRPr sz="1600" i="1"/>
            </a:lvl1pPr>
            <a:lvl2pPr marL="0" indent="0" algn="ctr">
              <a:lnSpc>
                <a:spcPct val="100000"/>
              </a:lnSpc>
              <a:spcBef>
                <a:spcPts val="0"/>
              </a:spcBef>
              <a:spcAft>
                <a:spcPts val="0"/>
              </a:spcAft>
              <a:buFont typeface="Arial" panose="020B0604020202020204" pitchFamily="34" charset="0"/>
              <a:buNone/>
              <a:defRPr sz="1600" i="1"/>
            </a:lvl2pPr>
            <a:lvl3pPr marL="0" indent="0" algn="ctr">
              <a:lnSpc>
                <a:spcPct val="100000"/>
              </a:lnSpc>
              <a:spcBef>
                <a:spcPts val="0"/>
              </a:spcBef>
              <a:spcAft>
                <a:spcPts val="0"/>
              </a:spcAft>
              <a:buFont typeface="Arial" panose="020B0604020202020204" pitchFamily="34" charset="0"/>
              <a:buNone/>
              <a:defRPr sz="1600" i="1"/>
            </a:lvl3pPr>
            <a:lvl4pPr marL="0" indent="0" algn="ctr">
              <a:lnSpc>
                <a:spcPct val="100000"/>
              </a:lnSpc>
              <a:spcBef>
                <a:spcPts val="0"/>
              </a:spcBef>
              <a:spcAft>
                <a:spcPts val="0"/>
              </a:spcAft>
              <a:buFont typeface="Arial" panose="020B0604020202020204" pitchFamily="34" charset="0"/>
              <a:buNone/>
              <a:defRPr sz="1600" i="1"/>
            </a:lvl4pPr>
            <a:lvl5pPr marL="0" indent="0" algn="ctr">
              <a:lnSpc>
                <a:spcPct val="100000"/>
              </a:lnSpc>
              <a:spcBef>
                <a:spcPts val="0"/>
              </a:spcBef>
              <a:spcAft>
                <a:spcPts val="0"/>
              </a:spcAft>
              <a:buFont typeface="Arial" panose="020B0604020202020204" pitchFamily="34" charset="0"/>
              <a:buNone/>
              <a:defRPr sz="1600" i="1"/>
            </a:lvl5pPr>
            <a:lvl6pPr marL="0" indent="0" algn="ctr">
              <a:lnSpc>
                <a:spcPct val="100000"/>
              </a:lnSpc>
              <a:spcBef>
                <a:spcPts val="0"/>
              </a:spcBef>
              <a:spcAft>
                <a:spcPts val="0"/>
              </a:spcAft>
              <a:buFont typeface="Arial" panose="020B0604020202020204" pitchFamily="34" charset="0"/>
              <a:buNone/>
              <a:defRPr sz="1600" i="1"/>
            </a:lvl6pPr>
            <a:lvl7pPr marL="0" indent="0" algn="ctr">
              <a:lnSpc>
                <a:spcPct val="100000"/>
              </a:lnSpc>
              <a:spcBef>
                <a:spcPts val="0"/>
              </a:spcBef>
              <a:spcAft>
                <a:spcPts val="0"/>
              </a:spcAft>
              <a:buFont typeface="Arial" panose="020B0604020202020204" pitchFamily="34" charset="0"/>
              <a:buNone/>
              <a:defRPr sz="1600" i="1"/>
            </a:lvl7pPr>
            <a:lvl8pPr marL="0" indent="0" algn="ctr">
              <a:lnSpc>
                <a:spcPct val="100000"/>
              </a:lnSpc>
              <a:spcBef>
                <a:spcPts val="0"/>
              </a:spcBef>
              <a:spcAft>
                <a:spcPts val="0"/>
              </a:spcAft>
              <a:buFont typeface="Arial" panose="020B0604020202020204" pitchFamily="34" charset="0"/>
              <a:buNone/>
              <a:defRPr sz="1600" i="1"/>
            </a:lvl8pPr>
            <a:lvl9pPr marL="0" indent="0" algn="ctr">
              <a:lnSpc>
                <a:spcPct val="100000"/>
              </a:lnSpc>
              <a:spcBef>
                <a:spcPts val="0"/>
              </a:spcBef>
              <a:spcAft>
                <a:spcPts val="0"/>
              </a:spcAft>
              <a:buFont typeface="Arial" panose="020B0604020202020204" pitchFamily="34" charset="0"/>
              <a:buNone/>
              <a:defRPr sz="1600" i="1"/>
            </a:lvl9pPr>
          </a:lstStyle>
          <a:p>
            <a:pPr lvl="0"/>
            <a:r>
              <a:rPr lang="de-DE"/>
              <a:t>Optional: Mandantenlogo mittig platzieren max. 38 x 96 mm</a:t>
            </a:r>
          </a:p>
        </p:txBody>
      </p:sp>
      <p:sp>
        <p:nvSpPr>
          <p:cNvPr id="3" name="Titel 2">
            <a:extLst>
              <a:ext uri="{FF2B5EF4-FFF2-40B4-BE49-F238E27FC236}">
                <a16:creationId xmlns:a16="http://schemas.microsoft.com/office/drawing/2014/main" id="{1EA159B8-C69E-4FC6-801D-3F2141F8EF92}"/>
              </a:ext>
            </a:extLst>
          </p:cNvPr>
          <p:cNvSpPr>
            <a:spLocks noGrp="1"/>
          </p:cNvSpPr>
          <p:nvPr>
            <p:ph type="title" hasCustomPrompt="1"/>
          </p:nvPr>
        </p:nvSpPr>
        <p:spPr bwMode="gray">
          <a:xfrm>
            <a:off x="766764" y="2997056"/>
            <a:ext cx="10045700" cy="936000"/>
          </a:xfrm>
          <a:prstGeom prst="rect">
            <a:avLst/>
          </a:prstGeom>
        </p:spPr>
        <p:txBody>
          <a:bodyPr vert="horz"/>
          <a:lstStyle>
            <a:lvl1pPr>
              <a:defRPr/>
            </a:lvl1pPr>
          </a:lstStyle>
          <a:p>
            <a:r>
              <a:rPr lang="de-DE"/>
              <a:t>Titelzeile(n), Cambria 24 </a:t>
            </a:r>
            <a:r>
              <a:rPr lang="de-DE" err="1"/>
              <a:t>pt</a:t>
            </a:r>
            <a:r>
              <a:rPr lang="de-DE"/>
              <a:t>., durch Klicken bearbeiten</a:t>
            </a:r>
          </a:p>
        </p:txBody>
      </p:sp>
      <p:sp>
        <p:nvSpPr>
          <p:cNvPr id="8" name="Untertitel 2">
            <a:extLst>
              <a:ext uri="{FF2B5EF4-FFF2-40B4-BE49-F238E27FC236}">
                <a16:creationId xmlns:a16="http://schemas.microsoft.com/office/drawing/2014/main" id="{C235AD96-577D-4E8D-9883-202DEADA2E1B}"/>
              </a:ext>
            </a:extLst>
          </p:cNvPr>
          <p:cNvSpPr>
            <a:spLocks noGrp="1"/>
          </p:cNvSpPr>
          <p:nvPr>
            <p:ph type="subTitle" idx="1" hasCustomPrompt="1"/>
          </p:nvPr>
        </p:nvSpPr>
        <p:spPr bwMode="gray">
          <a:xfrm>
            <a:off x="766764" y="4005064"/>
            <a:ext cx="7129461" cy="864000"/>
          </a:xfrm>
          <a:prstGeom prst="rect">
            <a:avLst/>
          </a:prstGeom>
        </p:spPr>
        <p:txBody>
          <a:bodyPr lIns="0" tIns="72000" anchor="t"/>
          <a:lstStyle>
            <a:lvl1pPr marL="0" indent="0" algn="l">
              <a:lnSpc>
                <a:spcPct val="100000"/>
              </a:lnSpc>
              <a:spcBef>
                <a:spcPts val="0"/>
              </a:spcBef>
              <a:spcAft>
                <a:spcPts val="1200"/>
              </a:spcAft>
              <a:buNone/>
              <a:defRPr sz="2000" baseline="0">
                <a:solidFill>
                  <a:schemeClr val="tx1"/>
                </a:solidFill>
              </a:defRPr>
            </a:lvl1pPr>
            <a:lvl2pPr marL="0" indent="0" algn="l">
              <a:lnSpc>
                <a:spcPct val="100000"/>
              </a:lnSpc>
              <a:spcBef>
                <a:spcPts val="0"/>
              </a:spcBef>
              <a:spcAft>
                <a:spcPts val="1200"/>
              </a:spcAft>
              <a:buNone/>
              <a:defRPr sz="1600">
                <a:solidFill>
                  <a:schemeClr val="tx1"/>
                </a:solidFill>
              </a:defRPr>
            </a:lvl2pPr>
            <a:lvl3pPr marL="0" indent="0" algn="l">
              <a:lnSpc>
                <a:spcPct val="100000"/>
              </a:lnSpc>
              <a:spcBef>
                <a:spcPts val="0"/>
              </a:spcBef>
              <a:spcAft>
                <a:spcPts val="1200"/>
              </a:spcAft>
              <a:buNone/>
              <a:defRPr sz="1600">
                <a:solidFill>
                  <a:schemeClr val="tx1"/>
                </a:solidFill>
              </a:defRPr>
            </a:lvl3pPr>
            <a:lvl4pPr marL="0" indent="0" algn="l">
              <a:lnSpc>
                <a:spcPct val="100000"/>
              </a:lnSpc>
              <a:spcBef>
                <a:spcPts val="0"/>
              </a:spcBef>
              <a:spcAft>
                <a:spcPts val="1200"/>
              </a:spcAft>
              <a:buNone/>
              <a:defRPr sz="1600">
                <a:solidFill>
                  <a:schemeClr val="tx1"/>
                </a:solidFill>
              </a:defRPr>
            </a:lvl4pPr>
            <a:lvl5pPr marL="0" indent="0" algn="l">
              <a:lnSpc>
                <a:spcPct val="100000"/>
              </a:lnSpc>
              <a:spcBef>
                <a:spcPts val="0"/>
              </a:spcBef>
              <a:spcAft>
                <a:spcPts val="1200"/>
              </a:spcAft>
              <a:buNone/>
              <a:defRPr sz="1600">
                <a:solidFill>
                  <a:schemeClr val="tx1"/>
                </a:solidFill>
              </a:defRPr>
            </a:lvl5pPr>
            <a:lvl6pPr marL="0" indent="0" algn="l">
              <a:lnSpc>
                <a:spcPct val="100000"/>
              </a:lnSpc>
              <a:spcBef>
                <a:spcPts val="0"/>
              </a:spcBef>
              <a:spcAft>
                <a:spcPts val="1200"/>
              </a:spcAft>
              <a:buNone/>
              <a:defRPr sz="1600">
                <a:solidFill>
                  <a:schemeClr val="tx1"/>
                </a:solidFill>
              </a:defRPr>
            </a:lvl6pPr>
            <a:lvl7pPr marL="0" indent="0" algn="l">
              <a:lnSpc>
                <a:spcPct val="100000"/>
              </a:lnSpc>
              <a:spcBef>
                <a:spcPts val="0"/>
              </a:spcBef>
              <a:spcAft>
                <a:spcPts val="1200"/>
              </a:spcAft>
              <a:buNone/>
              <a:defRPr sz="1600">
                <a:solidFill>
                  <a:schemeClr val="tx1"/>
                </a:solidFill>
              </a:defRPr>
            </a:lvl7pPr>
            <a:lvl8pPr marL="0" indent="0" algn="l">
              <a:lnSpc>
                <a:spcPct val="100000"/>
              </a:lnSpc>
              <a:spcBef>
                <a:spcPts val="0"/>
              </a:spcBef>
              <a:spcAft>
                <a:spcPts val="1200"/>
              </a:spcAft>
              <a:buNone/>
              <a:defRPr sz="1600">
                <a:solidFill>
                  <a:schemeClr val="tx1"/>
                </a:solidFill>
              </a:defRPr>
            </a:lvl8pPr>
            <a:lvl9pPr marL="0" indent="0" algn="l">
              <a:lnSpc>
                <a:spcPct val="100000"/>
              </a:lnSpc>
              <a:spcBef>
                <a:spcPts val="0"/>
              </a:spcBef>
              <a:spcAft>
                <a:spcPts val="1200"/>
              </a:spcAft>
              <a:buNone/>
              <a:defRPr sz="1600">
                <a:solidFill>
                  <a:schemeClr val="tx1"/>
                </a:solidFill>
              </a:defRPr>
            </a:lvl9pPr>
          </a:lstStyle>
          <a:p>
            <a:r>
              <a:rPr lang="de-DE"/>
              <a:t>Optionale Untertitelzeilen, durch Klicken bearbeiten, </a:t>
            </a:r>
            <a:br>
              <a:rPr lang="de-DE"/>
            </a:br>
            <a:r>
              <a:rPr lang="de-DE"/>
              <a:t>Corbel 20-16 </a:t>
            </a:r>
            <a:r>
              <a:rPr lang="de-DE" err="1"/>
              <a:t>pt</a:t>
            </a:r>
            <a:r>
              <a:rPr lang="de-DE"/>
              <a:t>.</a:t>
            </a:r>
          </a:p>
        </p:txBody>
      </p:sp>
    </p:spTree>
    <p:extLst>
      <p:ext uri="{BB962C8B-B14F-4D97-AF65-F5344CB8AC3E}">
        <p14:creationId xmlns:p14="http://schemas.microsoft.com/office/powerpoint/2010/main" val="31811360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numerisch)">
    <p:spTree>
      <p:nvGrpSpPr>
        <p:cNvPr id="1" name=""/>
        <p:cNvGrpSpPr/>
        <p:nvPr/>
      </p:nvGrpSpPr>
      <p:grpSpPr>
        <a:xfrm>
          <a:off x="0" y="0"/>
          <a:ext cx="0" cy="0"/>
          <a:chOff x="0" y="0"/>
          <a:chExt cx="0" cy="0"/>
        </a:xfrm>
      </p:grpSpPr>
      <p:sp>
        <p:nvSpPr>
          <p:cNvPr id="7" name="Inhaltsplatzhalter 6"/>
          <p:cNvSpPr>
            <a:spLocks noGrp="1"/>
          </p:cNvSpPr>
          <p:nvPr>
            <p:ph sz="quarter" idx="10" hasCustomPrompt="1"/>
          </p:nvPr>
        </p:nvSpPr>
        <p:spPr bwMode="gray">
          <a:xfrm>
            <a:off x="767407" y="1699200"/>
            <a:ext cx="11016605" cy="4391521"/>
          </a:xfrm>
          <a:prstGeom prst="rect">
            <a:avLst/>
          </a:prstGeom>
        </p:spPr>
        <p:txBody>
          <a:bodyPr wrap="square">
            <a:noAutofit/>
          </a:bodyPr>
          <a:lstStyle>
            <a:lvl1pPr marL="361950" indent="-361950">
              <a:buClr>
                <a:schemeClr val="tx2"/>
              </a:buClr>
              <a:buSzPct val="100000"/>
              <a:buFont typeface="+mj-lt"/>
              <a:buAutoNum type="arabicPeriod"/>
              <a:defRPr>
                <a:solidFill>
                  <a:schemeClr val="tx1"/>
                </a:solidFill>
              </a:defRPr>
            </a:lvl1pPr>
            <a:lvl2pPr marL="576000" indent="-252000">
              <a:buClr>
                <a:schemeClr val="tx2"/>
              </a:buClr>
              <a:buSzPct val="100000"/>
              <a:buFont typeface="+mj-lt"/>
              <a:buAutoNum type="arabicPeriod"/>
              <a:defRPr>
                <a:solidFill>
                  <a:schemeClr val="tx1"/>
                </a:solidFill>
              </a:defRPr>
            </a:lvl2pPr>
            <a:lvl3pPr marL="828000" indent="-252000">
              <a:buClr>
                <a:schemeClr val="tx2"/>
              </a:buClr>
              <a:buSzPct val="100000"/>
              <a:buFont typeface="+mj-lt"/>
              <a:buAutoNum type="arabicPeriod"/>
              <a:defRPr>
                <a:solidFill>
                  <a:schemeClr val="tx1"/>
                </a:solidFill>
              </a:defRPr>
            </a:lvl3pPr>
            <a:lvl4pPr marL="1080000" indent="-252000">
              <a:buClr>
                <a:schemeClr val="tx2"/>
              </a:buClr>
              <a:buSzPct val="100000"/>
              <a:buFont typeface="+mj-lt"/>
              <a:buAutoNum type="arabicPeriod"/>
              <a:defRPr>
                <a:solidFill>
                  <a:schemeClr val="tx1"/>
                </a:solidFill>
              </a:defRPr>
            </a:lvl4pPr>
            <a:lvl5pPr marL="1296000" indent="-216000">
              <a:spcBef>
                <a:spcPts val="0"/>
              </a:spcBef>
              <a:buClr>
                <a:schemeClr val="tx2"/>
              </a:buClr>
              <a:buSzPct val="100000"/>
              <a:buFont typeface="+mj-lt"/>
              <a:buAutoNum type="arabicPeriod"/>
              <a:defRPr sz="1200">
                <a:solidFill>
                  <a:schemeClr val="tx1"/>
                </a:solidFill>
              </a:defRPr>
            </a:lvl5pPr>
            <a:lvl6pPr marL="1296000" indent="-216000">
              <a:buSzPct val="100000"/>
              <a:buFont typeface="+mj-lt"/>
              <a:buAutoNum type="arabicPeriod"/>
              <a:defRPr/>
            </a:lvl6pPr>
            <a:lvl7pPr marL="1296000" indent="-216000">
              <a:buSzPct val="100000"/>
              <a:buFont typeface="+mj-lt"/>
              <a:buAutoNum type="arabicPeriod"/>
              <a:defRPr/>
            </a:lvl7pPr>
            <a:lvl8pPr marL="1296000" indent="-216000">
              <a:buSzPct val="100000"/>
              <a:buFont typeface="+mj-lt"/>
              <a:buAutoNum type="arabicPeriod"/>
              <a:defRPr/>
            </a:lvl8pPr>
            <a:lvl9pPr marL="1296000" indent="-216000">
              <a:buSzPct val="100000"/>
              <a:buFont typeface="+mj-lt"/>
              <a:buAutoNum type="arabicPeriod"/>
              <a:defRPr/>
            </a:lvl9pPr>
          </a:lstStyle>
          <a:p>
            <a:pPr lvl="0"/>
            <a:r>
              <a:rPr lang="de-DE"/>
              <a:t>Erste Ebene</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5" name="Titel 4">
            <a:extLst>
              <a:ext uri="{FF2B5EF4-FFF2-40B4-BE49-F238E27FC236}">
                <a16:creationId xmlns:a16="http://schemas.microsoft.com/office/drawing/2014/main" id="{63510EEC-519C-4C46-9188-521D2F61F40D}"/>
              </a:ext>
            </a:extLst>
          </p:cNvPr>
          <p:cNvSpPr>
            <a:spLocks noGrp="1"/>
          </p:cNvSpPr>
          <p:nvPr>
            <p:ph type="title" hasCustomPrompt="1"/>
          </p:nvPr>
        </p:nvSpPr>
        <p:spPr bwMode="gray">
          <a:xfrm>
            <a:off x="415478" y="260350"/>
            <a:ext cx="10404475" cy="710853"/>
          </a:xfrm>
          <a:prstGeom prst="rect">
            <a:avLst/>
          </a:prstGeom>
        </p:spPr>
        <p:txBody>
          <a:bodyPr vert="horz"/>
          <a:lstStyle>
            <a:lvl1pPr>
              <a:defRPr/>
            </a:lvl1pPr>
          </a:lstStyle>
          <a:p>
            <a:r>
              <a:rPr lang="de-DE"/>
              <a:t>Agenda bzw. Inhaltsverzeichnis, Cambria 24 </a:t>
            </a:r>
            <a:r>
              <a:rPr lang="de-DE" err="1"/>
              <a:t>pt</a:t>
            </a:r>
            <a:r>
              <a:rPr lang="de-DE"/>
              <a:t>.</a:t>
            </a:r>
          </a:p>
        </p:txBody>
      </p:sp>
      <p:sp>
        <p:nvSpPr>
          <p:cNvPr id="2" name="Fußzeilenplatzhalter 1">
            <a:extLst>
              <a:ext uri="{FF2B5EF4-FFF2-40B4-BE49-F238E27FC236}">
                <a16:creationId xmlns:a16="http://schemas.microsoft.com/office/drawing/2014/main" id="{443E8101-94CC-5C90-C59C-228F08F33E7A}"/>
              </a:ext>
            </a:extLst>
          </p:cNvPr>
          <p:cNvSpPr>
            <a:spLocks noGrp="1"/>
          </p:cNvSpPr>
          <p:nvPr>
            <p:ph type="ftr" sz="quarter" idx="11"/>
          </p:nvPr>
        </p:nvSpPr>
        <p:spPr/>
        <p:txBody>
          <a:bodyPr/>
          <a:lstStyle/>
          <a:p>
            <a:r>
              <a:rPr lang="de-DE"/>
              <a:t>Kommunale Wärmeplanung Verbandsgemeinde Unkel</a:t>
            </a:r>
            <a:endParaRPr lang="de-DE" dirty="0"/>
          </a:p>
        </p:txBody>
      </p:sp>
    </p:spTree>
    <p:extLst>
      <p:ext uri="{BB962C8B-B14F-4D97-AF65-F5344CB8AC3E}">
        <p14:creationId xmlns:p14="http://schemas.microsoft.com/office/powerpoint/2010/main" val="1712572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Liste)">
    <p:spTree>
      <p:nvGrpSpPr>
        <p:cNvPr id="1" name=""/>
        <p:cNvGrpSpPr/>
        <p:nvPr/>
      </p:nvGrpSpPr>
      <p:grpSpPr>
        <a:xfrm>
          <a:off x="0" y="0"/>
          <a:ext cx="0" cy="0"/>
          <a:chOff x="0" y="0"/>
          <a:chExt cx="0" cy="0"/>
        </a:xfrm>
      </p:grpSpPr>
      <p:sp>
        <p:nvSpPr>
          <p:cNvPr id="4" name="Inhaltsplatzhalter 3"/>
          <p:cNvSpPr>
            <a:spLocks noGrp="1"/>
          </p:cNvSpPr>
          <p:nvPr>
            <p:ph sz="quarter" idx="10" hasCustomPrompt="1"/>
          </p:nvPr>
        </p:nvSpPr>
        <p:spPr bwMode="gray">
          <a:xfrm>
            <a:off x="767408" y="1699200"/>
            <a:ext cx="11016605" cy="4391521"/>
          </a:xfrm>
        </p:spPr>
        <p:txBody>
          <a:bodyPr>
            <a:noAutofit/>
          </a:bodyPr>
          <a:lstStyle>
            <a:lvl1pPr marL="361950" indent="-361950">
              <a:buClr>
                <a:schemeClr val="tx2"/>
              </a:buClr>
              <a:defRPr/>
            </a:lvl1pPr>
            <a:lvl2pPr marL="533400" indent="-184150">
              <a:buClr>
                <a:schemeClr val="tx2"/>
              </a:buClr>
              <a:defRPr/>
            </a:lvl2pPr>
            <a:lvl3pPr marL="723900" indent="-174625">
              <a:buClr>
                <a:schemeClr val="tx2"/>
              </a:buClr>
              <a:defRPr/>
            </a:lvl3pPr>
            <a:lvl4pPr marL="901700" indent="-174625" defTabSz="1079500">
              <a:buClr>
                <a:schemeClr val="tx2"/>
              </a:buClr>
              <a:defRPr/>
            </a:lvl4pPr>
            <a:lvl5pPr marL="901700" indent="-174625" defTabSz="1079500">
              <a:buClr>
                <a:schemeClr val="tx2"/>
              </a:buClr>
              <a:defRPr/>
            </a:lvl5pPr>
          </a:lstStyle>
          <a:p>
            <a:pPr lvl="0"/>
            <a:r>
              <a:rPr lang="de-DE"/>
              <a:t>Erste Ebene</a:t>
            </a:r>
          </a:p>
          <a:p>
            <a:pPr lvl="1"/>
            <a:r>
              <a:rPr lang="de-DE"/>
              <a:t>Zweite Ebene</a:t>
            </a:r>
          </a:p>
          <a:p>
            <a:pPr lvl="2"/>
            <a:r>
              <a:rPr lang="de-DE"/>
              <a:t>Dritte Ebene</a:t>
            </a:r>
          </a:p>
          <a:p>
            <a:pPr lvl="3"/>
            <a:r>
              <a:rPr lang="de-DE"/>
              <a:t>Vierte Ebene</a:t>
            </a:r>
          </a:p>
          <a:p>
            <a:pPr lvl="4"/>
            <a:r>
              <a:rPr lang="de-DE"/>
              <a:t>Fünfte Ebene</a:t>
            </a:r>
          </a:p>
        </p:txBody>
      </p:sp>
      <p:sp>
        <p:nvSpPr>
          <p:cNvPr id="8" name="Titel 7">
            <a:extLst>
              <a:ext uri="{FF2B5EF4-FFF2-40B4-BE49-F238E27FC236}">
                <a16:creationId xmlns:a16="http://schemas.microsoft.com/office/drawing/2014/main" id="{1FE86279-707E-41CC-B326-20286D30CD68}"/>
              </a:ext>
            </a:extLst>
          </p:cNvPr>
          <p:cNvSpPr>
            <a:spLocks noGrp="1"/>
          </p:cNvSpPr>
          <p:nvPr>
            <p:ph type="title" hasCustomPrompt="1"/>
          </p:nvPr>
        </p:nvSpPr>
        <p:spPr bwMode="gray">
          <a:xfrm>
            <a:off x="415478" y="260350"/>
            <a:ext cx="10404475" cy="710853"/>
          </a:xfrm>
          <a:prstGeom prst="rect">
            <a:avLst/>
          </a:prstGeom>
        </p:spPr>
        <p:txBody>
          <a:bodyPr vert="horz"/>
          <a:lstStyle/>
          <a:p>
            <a:r>
              <a:rPr lang="de-DE"/>
              <a:t>Agenda bzw. Inhaltsverzeichnis, Cambria 24 </a:t>
            </a:r>
            <a:r>
              <a:rPr lang="de-DE" err="1"/>
              <a:t>pt</a:t>
            </a:r>
            <a:r>
              <a:rPr lang="de-DE"/>
              <a:t>.</a:t>
            </a:r>
          </a:p>
        </p:txBody>
      </p:sp>
      <p:sp>
        <p:nvSpPr>
          <p:cNvPr id="2" name="Fußzeilenplatzhalter 1">
            <a:extLst>
              <a:ext uri="{FF2B5EF4-FFF2-40B4-BE49-F238E27FC236}">
                <a16:creationId xmlns:a16="http://schemas.microsoft.com/office/drawing/2014/main" id="{93E23B55-BFEC-5A43-70BD-124D69ED231E}"/>
              </a:ext>
            </a:extLst>
          </p:cNvPr>
          <p:cNvSpPr>
            <a:spLocks noGrp="1"/>
          </p:cNvSpPr>
          <p:nvPr>
            <p:ph type="ftr" sz="quarter" idx="11"/>
          </p:nvPr>
        </p:nvSpPr>
        <p:spPr/>
        <p:txBody>
          <a:bodyPr/>
          <a:lstStyle/>
          <a:p>
            <a:r>
              <a:rPr lang="de-DE"/>
              <a:t>Kommunale Wärmeplanung Verbandsgemeinde Unkel</a:t>
            </a:r>
            <a:endParaRPr lang="de-DE" dirty="0"/>
          </a:p>
        </p:txBody>
      </p:sp>
    </p:spTree>
    <p:extLst>
      <p:ext uri="{BB962C8B-B14F-4D97-AF65-F5344CB8AC3E}">
        <p14:creationId xmlns:p14="http://schemas.microsoft.com/office/powerpoint/2010/main" val="1537756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FA87D12-59EE-748A-7BC0-99D32873363F}"/>
              </a:ext>
            </a:extLst>
          </p:cNvPr>
          <p:cNvGraphicFramePr>
            <a:graphicFrameLocks noChangeAspect="1"/>
          </p:cNvGraphicFramePr>
          <p:nvPr userDrawn="1">
            <p:custDataLst>
              <p:tags r:id="rId1"/>
            </p:custDataLst>
            <p:extLst>
              <p:ext uri="{D42A27DB-BD31-4B8C-83A1-F6EECF244321}">
                <p14:modId xmlns:p14="http://schemas.microsoft.com/office/powerpoint/2010/main" val="1018387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2" imgH="398" progId="TCLayout.ActiveDocument.1">
                  <p:embed/>
                </p:oleObj>
              </mc:Choice>
              <mc:Fallback>
                <p:oleObj name="think-cell Folie" r:id="rId3" imgW="402" imgH="398" progId="TCLayout.ActiveDocument.1">
                  <p:embed/>
                  <p:pic>
                    <p:nvPicPr>
                      <p:cNvPr id="4" name="Objekt 3" hidden="1">
                        <a:extLst>
                          <a:ext uri="{FF2B5EF4-FFF2-40B4-BE49-F238E27FC236}">
                            <a16:creationId xmlns:a16="http://schemas.microsoft.com/office/drawing/2014/main" id="{3FA87D12-59EE-748A-7BC0-99D3287336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9E9E33F2-E570-4E14-8B24-6B7CC5BFB334}"/>
              </a:ext>
            </a:extLst>
          </p:cNvPr>
          <p:cNvSpPr>
            <a:spLocks noGrp="1"/>
          </p:cNvSpPr>
          <p:nvPr>
            <p:ph type="title" hasCustomPrompt="1"/>
          </p:nvPr>
        </p:nvSpPr>
        <p:spPr bwMode="gray">
          <a:xfrm>
            <a:off x="407988" y="260350"/>
            <a:ext cx="10411965" cy="710853"/>
          </a:xfrm>
          <a:prstGeom prst="rect">
            <a:avLst/>
          </a:prstGeom>
        </p:spPr>
        <p:txBody>
          <a:bodyPr vert="horz"/>
          <a:lstStyle>
            <a:lvl1pPr>
              <a:defRPr/>
            </a:lvl1pPr>
          </a:lstStyle>
          <a:p>
            <a:r>
              <a:rPr lang="de-DE"/>
              <a:t>Inhaltsfolie, Überschrift, Cambria 24 </a:t>
            </a:r>
            <a:r>
              <a:rPr lang="de-DE" err="1"/>
              <a:t>pt</a:t>
            </a:r>
            <a:r>
              <a:rPr lang="de-DE"/>
              <a:t>., max. 2-zeilig</a:t>
            </a:r>
          </a:p>
        </p:txBody>
      </p:sp>
      <p:sp>
        <p:nvSpPr>
          <p:cNvPr id="5" name="Inhaltsplatzhalter 4">
            <a:extLst>
              <a:ext uri="{FF2B5EF4-FFF2-40B4-BE49-F238E27FC236}">
                <a16:creationId xmlns:a16="http://schemas.microsoft.com/office/drawing/2014/main" id="{A035D8B5-24C0-4B57-A317-B61BC2A8285A}"/>
              </a:ext>
            </a:extLst>
          </p:cNvPr>
          <p:cNvSpPr>
            <a:spLocks noGrp="1"/>
          </p:cNvSpPr>
          <p:nvPr>
            <p:ph sz="quarter" idx="10" hasCustomPrompt="1"/>
          </p:nvPr>
        </p:nvSpPr>
        <p:spPr/>
        <p:txBody>
          <a:body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2" name="Fußzeilenplatzhalter 1">
            <a:extLst>
              <a:ext uri="{FF2B5EF4-FFF2-40B4-BE49-F238E27FC236}">
                <a16:creationId xmlns:a16="http://schemas.microsoft.com/office/drawing/2014/main" id="{EF379BBD-ED55-2BE8-A8CD-D2921899D97E}"/>
              </a:ext>
            </a:extLst>
          </p:cNvPr>
          <p:cNvSpPr>
            <a:spLocks noGrp="1"/>
          </p:cNvSpPr>
          <p:nvPr>
            <p:ph type="ftr" sz="quarter" idx="11"/>
          </p:nvPr>
        </p:nvSpPr>
        <p:spPr/>
        <p:txBody>
          <a:bodyPr/>
          <a:lstStyle/>
          <a:p>
            <a:r>
              <a:rPr lang="de-DE"/>
              <a:t>Kommunale Wärmeplanung Verbandsgemeinde Unkel</a:t>
            </a:r>
          </a:p>
        </p:txBody>
      </p:sp>
    </p:spTree>
    <p:extLst>
      <p:ext uri="{BB962C8B-B14F-4D97-AF65-F5344CB8AC3E}">
        <p14:creationId xmlns:p14="http://schemas.microsoft.com/office/powerpoint/2010/main" val="14309340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x 1/2">
    <p:spTree>
      <p:nvGrpSpPr>
        <p:cNvPr id="1" name=""/>
        <p:cNvGrpSpPr/>
        <p:nvPr/>
      </p:nvGrpSpPr>
      <p:grpSpPr>
        <a:xfrm>
          <a:off x="0" y="0"/>
          <a:ext cx="0" cy="0"/>
          <a:chOff x="0" y="0"/>
          <a:chExt cx="0" cy="0"/>
        </a:xfrm>
      </p:grpSpPr>
      <p:sp>
        <p:nvSpPr>
          <p:cNvPr id="7" name="Inhaltsplatzhalter 3"/>
          <p:cNvSpPr>
            <a:spLocks noGrp="1"/>
          </p:cNvSpPr>
          <p:nvPr>
            <p:ph sz="quarter" idx="10" hasCustomPrompt="1"/>
          </p:nvPr>
        </p:nvSpPr>
        <p:spPr bwMode="gray">
          <a:xfrm>
            <a:off x="407987" y="1699200"/>
            <a:ext cx="5543997" cy="4391521"/>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Inhaltsplatzhalter 3"/>
          <p:cNvSpPr>
            <a:spLocks noGrp="1"/>
          </p:cNvSpPr>
          <p:nvPr>
            <p:ph sz="quarter" idx="11" hasCustomPrompt="1"/>
          </p:nvPr>
        </p:nvSpPr>
        <p:spPr bwMode="gray">
          <a:xfrm>
            <a:off x="6240463" y="1699200"/>
            <a:ext cx="5543550" cy="4391520"/>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5" name="Titel 4">
            <a:extLst>
              <a:ext uri="{FF2B5EF4-FFF2-40B4-BE49-F238E27FC236}">
                <a16:creationId xmlns:a16="http://schemas.microsoft.com/office/drawing/2014/main" id="{662561D8-ACF1-4F5D-8FE1-3FF6C1A87EC9}"/>
              </a:ext>
            </a:extLst>
          </p:cNvPr>
          <p:cNvSpPr>
            <a:spLocks noGrp="1"/>
          </p:cNvSpPr>
          <p:nvPr>
            <p:ph type="title" hasCustomPrompt="1"/>
          </p:nvPr>
        </p:nvSpPr>
        <p:spPr bwMode="gray">
          <a:xfrm>
            <a:off x="415478" y="260350"/>
            <a:ext cx="10404475" cy="710853"/>
          </a:xfrm>
          <a:prstGeom prst="rect">
            <a:avLst/>
          </a:prstGeom>
        </p:spPr>
        <p:txBody>
          <a:bodyPr vert="horz"/>
          <a:lstStyle>
            <a:lvl1pPr>
              <a:defRPr/>
            </a:lvl1pPr>
          </a:lstStyle>
          <a:p>
            <a:r>
              <a:rPr lang="de-DE"/>
              <a:t>Inhaltsfolie, Überschrift, Cambria 24 </a:t>
            </a:r>
            <a:r>
              <a:rPr lang="de-DE" err="1"/>
              <a:t>pt</a:t>
            </a:r>
            <a:r>
              <a:rPr lang="de-DE"/>
              <a:t>., max. 2-zeilig</a:t>
            </a:r>
          </a:p>
        </p:txBody>
      </p:sp>
      <p:sp>
        <p:nvSpPr>
          <p:cNvPr id="2" name="Fußzeilenplatzhalter 1">
            <a:extLst>
              <a:ext uri="{FF2B5EF4-FFF2-40B4-BE49-F238E27FC236}">
                <a16:creationId xmlns:a16="http://schemas.microsoft.com/office/drawing/2014/main" id="{5AF2D07A-D081-B2E5-9D22-FBBB33BC8515}"/>
              </a:ext>
            </a:extLst>
          </p:cNvPr>
          <p:cNvSpPr>
            <a:spLocks noGrp="1"/>
          </p:cNvSpPr>
          <p:nvPr>
            <p:ph type="ftr" sz="quarter" idx="12"/>
          </p:nvPr>
        </p:nvSpPr>
        <p:spPr/>
        <p:txBody>
          <a:bodyPr/>
          <a:lstStyle/>
          <a:p>
            <a:r>
              <a:rPr lang="de-DE"/>
              <a:t>Kommunale Wärmeplanung Verbandsgemeinde Unkel</a:t>
            </a:r>
          </a:p>
        </p:txBody>
      </p:sp>
    </p:spTree>
    <p:extLst>
      <p:ext uri="{BB962C8B-B14F-4D97-AF65-F5344CB8AC3E}">
        <p14:creationId xmlns:p14="http://schemas.microsoft.com/office/powerpoint/2010/main" val="1336557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x 1/3">
    <p:spTree>
      <p:nvGrpSpPr>
        <p:cNvPr id="1" name=""/>
        <p:cNvGrpSpPr/>
        <p:nvPr/>
      </p:nvGrpSpPr>
      <p:grpSpPr>
        <a:xfrm>
          <a:off x="0" y="0"/>
          <a:ext cx="0" cy="0"/>
          <a:chOff x="0" y="0"/>
          <a:chExt cx="0" cy="0"/>
        </a:xfrm>
      </p:grpSpPr>
      <p:sp>
        <p:nvSpPr>
          <p:cNvPr id="7" name="Inhaltsplatzhalter 3"/>
          <p:cNvSpPr>
            <a:spLocks noGrp="1"/>
          </p:cNvSpPr>
          <p:nvPr>
            <p:ph sz="quarter" idx="10" hasCustomPrompt="1"/>
          </p:nvPr>
        </p:nvSpPr>
        <p:spPr bwMode="gray">
          <a:xfrm>
            <a:off x="407987" y="1699200"/>
            <a:ext cx="3600451" cy="4391521"/>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Inhaltsplatzhalter 3"/>
          <p:cNvSpPr>
            <a:spLocks noGrp="1"/>
          </p:cNvSpPr>
          <p:nvPr>
            <p:ph sz="quarter" idx="11" hasCustomPrompt="1"/>
          </p:nvPr>
        </p:nvSpPr>
        <p:spPr bwMode="gray">
          <a:xfrm>
            <a:off x="4295775" y="1699200"/>
            <a:ext cx="3600450" cy="4391521"/>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9" name="Inhaltsplatzhalter 3"/>
          <p:cNvSpPr>
            <a:spLocks noGrp="1"/>
          </p:cNvSpPr>
          <p:nvPr>
            <p:ph sz="quarter" idx="12" hasCustomPrompt="1"/>
          </p:nvPr>
        </p:nvSpPr>
        <p:spPr bwMode="gray">
          <a:xfrm>
            <a:off x="8183562" y="1699200"/>
            <a:ext cx="3600451" cy="4391521"/>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5" name="Titel 4">
            <a:extLst>
              <a:ext uri="{FF2B5EF4-FFF2-40B4-BE49-F238E27FC236}">
                <a16:creationId xmlns:a16="http://schemas.microsoft.com/office/drawing/2014/main" id="{01E4DEDF-FB50-45AB-AB60-AF42053751A5}"/>
              </a:ext>
            </a:extLst>
          </p:cNvPr>
          <p:cNvSpPr>
            <a:spLocks noGrp="1"/>
          </p:cNvSpPr>
          <p:nvPr>
            <p:ph type="title" hasCustomPrompt="1"/>
          </p:nvPr>
        </p:nvSpPr>
        <p:spPr bwMode="gray">
          <a:xfrm>
            <a:off x="415478" y="260350"/>
            <a:ext cx="10404475" cy="710853"/>
          </a:xfrm>
          <a:prstGeom prst="rect">
            <a:avLst/>
          </a:prstGeom>
        </p:spPr>
        <p:txBody>
          <a:bodyPr vert="horz"/>
          <a:lstStyle>
            <a:lvl1pPr>
              <a:defRPr/>
            </a:lvl1pPr>
          </a:lstStyle>
          <a:p>
            <a:r>
              <a:rPr lang="de-DE"/>
              <a:t>Inhaltsfolie, Überschrift, Cambria 24 </a:t>
            </a:r>
            <a:r>
              <a:rPr lang="de-DE" err="1"/>
              <a:t>pt</a:t>
            </a:r>
            <a:r>
              <a:rPr lang="de-DE"/>
              <a:t>., max. 2-zeilig</a:t>
            </a:r>
          </a:p>
        </p:txBody>
      </p:sp>
      <p:sp>
        <p:nvSpPr>
          <p:cNvPr id="2" name="Fußzeilenplatzhalter 1">
            <a:extLst>
              <a:ext uri="{FF2B5EF4-FFF2-40B4-BE49-F238E27FC236}">
                <a16:creationId xmlns:a16="http://schemas.microsoft.com/office/drawing/2014/main" id="{E6471264-858C-6CA7-8477-61DE789D336F}"/>
              </a:ext>
            </a:extLst>
          </p:cNvPr>
          <p:cNvSpPr>
            <a:spLocks noGrp="1"/>
          </p:cNvSpPr>
          <p:nvPr>
            <p:ph type="ftr" sz="quarter" idx="13"/>
          </p:nvPr>
        </p:nvSpPr>
        <p:spPr/>
        <p:txBody>
          <a:bodyPr/>
          <a:lstStyle/>
          <a:p>
            <a:r>
              <a:rPr lang="de-DE"/>
              <a:t>Kommunale Wärmeplanung Verbandsgemeinde Unkel</a:t>
            </a:r>
          </a:p>
        </p:txBody>
      </p:sp>
    </p:spTree>
    <p:extLst>
      <p:ext uri="{BB962C8B-B14F-4D97-AF65-F5344CB8AC3E}">
        <p14:creationId xmlns:p14="http://schemas.microsoft.com/office/powerpoint/2010/main" val="14254876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x 1/4">
    <p:spTree>
      <p:nvGrpSpPr>
        <p:cNvPr id="1" name=""/>
        <p:cNvGrpSpPr/>
        <p:nvPr/>
      </p:nvGrpSpPr>
      <p:grpSpPr>
        <a:xfrm>
          <a:off x="0" y="0"/>
          <a:ext cx="0" cy="0"/>
          <a:chOff x="0" y="0"/>
          <a:chExt cx="0" cy="0"/>
        </a:xfrm>
      </p:grpSpPr>
      <p:sp>
        <p:nvSpPr>
          <p:cNvPr id="7" name="Inhaltsplatzhalter 3"/>
          <p:cNvSpPr>
            <a:spLocks noGrp="1"/>
          </p:cNvSpPr>
          <p:nvPr>
            <p:ph sz="quarter" idx="10" hasCustomPrompt="1"/>
          </p:nvPr>
        </p:nvSpPr>
        <p:spPr bwMode="gray">
          <a:xfrm>
            <a:off x="407988" y="1699200"/>
            <a:ext cx="2627312" cy="4391521"/>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3"/>
          <p:cNvSpPr>
            <a:spLocks noGrp="1"/>
          </p:cNvSpPr>
          <p:nvPr>
            <p:ph sz="quarter" idx="11" hasCustomPrompt="1"/>
          </p:nvPr>
        </p:nvSpPr>
        <p:spPr bwMode="gray">
          <a:xfrm>
            <a:off x="3324226" y="1699200"/>
            <a:ext cx="2627758" cy="4391521"/>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vl6pPr marL="720725" indent="0">
              <a:buNone/>
              <a:defRPr/>
            </a:lvl6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3"/>
          <p:cNvSpPr>
            <a:spLocks noGrp="1"/>
          </p:cNvSpPr>
          <p:nvPr>
            <p:ph sz="quarter" idx="12" hasCustomPrompt="1"/>
          </p:nvPr>
        </p:nvSpPr>
        <p:spPr bwMode="gray">
          <a:xfrm>
            <a:off x="6240462" y="1699200"/>
            <a:ext cx="2627313" cy="4391521"/>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p:txBody>
      </p:sp>
      <p:sp>
        <p:nvSpPr>
          <p:cNvPr id="5" name="Titel 4">
            <a:extLst>
              <a:ext uri="{FF2B5EF4-FFF2-40B4-BE49-F238E27FC236}">
                <a16:creationId xmlns:a16="http://schemas.microsoft.com/office/drawing/2014/main" id="{01E4DEDF-FB50-45AB-AB60-AF42053751A5}"/>
              </a:ext>
            </a:extLst>
          </p:cNvPr>
          <p:cNvSpPr>
            <a:spLocks noGrp="1"/>
          </p:cNvSpPr>
          <p:nvPr>
            <p:ph type="title" hasCustomPrompt="1"/>
          </p:nvPr>
        </p:nvSpPr>
        <p:spPr bwMode="gray">
          <a:xfrm>
            <a:off x="415478" y="260350"/>
            <a:ext cx="10404475" cy="710853"/>
          </a:xfrm>
          <a:prstGeom prst="rect">
            <a:avLst/>
          </a:prstGeom>
        </p:spPr>
        <p:txBody>
          <a:bodyPr vert="horz"/>
          <a:lstStyle>
            <a:lvl1pPr>
              <a:defRPr/>
            </a:lvl1pPr>
          </a:lstStyle>
          <a:p>
            <a:r>
              <a:rPr lang="de-DE"/>
              <a:t>Inhaltsfolie, Überschrift, Cambria 24 </a:t>
            </a:r>
            <a:r>
              <a:rPr lang="de-DE" err="1"/>
              <a:t>pt</a:t>
            </a:r>
            <a:r>
              <a:rPr lang="de-DE"/>
              <a:t>., max. 2-zeilig</a:t>
            </a:r>
          </a:p>
        </p:txBody>
      </p:sp>
      <p:sp>
        <p:nvSpPr>
          <p:cNvPr id="3" name="Inhaltsplatzhalter 2">
            <a:extLst>
              <a:ext uri="{FF2B5EF4-FFF2-40B4-BE49-F238E27FC236}">
                <a16:creationId xmlns:a16="http://schemas.microsoft.com/office/drawing/2014/main" id="{E60EBACC-9ABF-4498-948B-1576DC989915}"/>
              </a:ext>
            </a:extLst>
          </p:cNvPr>
          <p:cNvSpPr>
            <a:spLocks noGrp="1"/>
          </p:cNvSpPr>
          <p:nvPr>
            <p:ph sz="quarter" idx="13" hasCustomPrompt="1"/>
          </p:nvPr>
        </p:nvSpPr>
        <p:spPr bwMode="gray">
          <a:xfrm>
            <a:off x="9156699" y="1699200"/>
            <a:ext cx="2627313" cy="4391521"/>
          </a:xfrm>
        </p:spPr>
        <p:txBody>
          <a:bodyPr/>
          <a:lstStyle>
            <a:lvl9pPr marL="720725" indent="0">
              <a:buNone/>
              <a:defRPr/>
            </a:lvl9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2E88F97-4015-42E0-2D02-DABD635DF1B2}"/>
              </a:ext>
            </a:extLst>
          </p:cNvPr>
          <p:cNvSpPr>
            <a:spLocks noGrp="1"/>
          </p:cNvSpPr>
          <p:nvPr>
            <p:ph type="ftr" sz="quarter" idx="14"/>
          </p:nvPr>
        </p:nvSpPr>
        <p:spPr/>
        <p:txBody>
          <a:bodyPr/>
          <a:lstStyle/>
          <a:p>
            <a:r>
              <a:rPr lang="de-DE"/>
              <a:t>Kommunale Wärmeplanung Verbandsgemeinde Unkel</a:t>
            </a:r>
          </a:p>
        </p:txBody>
      </p:sp>
    </p:spTree>
    <p:extLst>
      <p:ext uri="{BB962C8B-B14F-4D97-AF65-F5344CB8AC3E}">
        <p14:creationId xmlns:p14="http://schemas.microsoft.com/office/powerpoint/2010/main" val="216342321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3 zu 2/3">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15478" y="260350"/>
            <a:ext cx="10404475" cy="710853"/>
          </a:xfrm>
          <a:prstGeom prst="rect">
            <a:avLst/>
          </a:prstGeom>
        </p:spPr>
        <p:txBody>
          <a:bodyPr vert="horz"/>
          <a:lstStyle>
            <a:lvl1pPr>
              <a:defRPr/>
            </a:lvl1pPr>
          </a:lstStyle>
          <a:p>
            <a:r>
              <a:rPr lang="de-DE"/>
              <a:t>Inhaltsfolie, Überschrift, Cambria 24 </a:t>
            </a:r>
            <a:r>
              <a:rPr lang="de-DE" err="1"/>
              <a:t>pt</a:t>
            </a:r>
            <a:r>
              <a:rPr lang="de-DE"/>
              <a:t>., max. 2-zeilig</a:t>
            </a:r>
          </a:p>
        </p:txBody>
      </p:sp>
      <p:sp>
        <p:nvSpPr>
          <p:cNvPr id="7" name="Inhaltsplatzhalter 3"/>
          <p:cNvSpPr>
            <a:spLocks noGrp="1"/>
          </p:cNvSpPr>
          <p:nvPr>
            <p:ph sz="quarter" idx="10" hasCustomPrompt="1"/>
          </p:nvPr>
        </p:nvSpPr>
        <p:spPr bwMode="gray">
          <a:xfrm>
            <a:off x="407989" y="1700808"/>
            <a:ext cx="3600450" cy="4392017"/>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Inhaltsplatzhalter 3"/>
          <p:cNvSpPr>
            <a:spLocks noGrp="1"/>
          </p:cNvSpPr>
          <p:nvPr>
            <p:ph sz="quarter" idx="11" hasCustomPrompt="1"/>
          </p:nvPr>
        </p:nvSpPr>
        <p:spPr bwMode="gray">
          <a:xfrm>
            <a:off x="4295775" y="1700808"/>
            <a:ext cx="7488238" cy="4392017"/>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3" name="Fußzeilenplatzhalter 2">
            <a:extLst>
              <a:ext uri="{FF2B5EF4-FFF2-40B4-BE49-F238E27FC236}">
                <a16:creationId xmlns:a16="http://schemas.microsoft.com/office/drawing/2014/main" id="{6B577B45-329B-7FD8-9616-D0E42B5C2CA7}"/>
              </a:ext>
            </a:extLst>
          </p:cNvPr>
          <p:cNvSpPr>
            <a:spLocks noGrp="1"/>
          </p:cNvSpPr>
          <p:nvPr>
            <p:ph type="ftr" sz="quarter" idx="12"/>
          </p:nvPr>
        </p:nvSpPr>
        <p:spPr/>
        <p:txBody>
          <a:bodyPr/>
          <a:lstStyle/>
          <a:p>
            <a:r>
              <a:rPr lang="de-DE"/>
              <a:t>Kommunale Wärmeplanung Verbandsgemeinde Unkel</a:t>
            </a:r>
          </a:p>
        </p:txBody>
      </p:sp>
    </p:spTree>
    <p:extLst>
      <p:ext uri="{BB962C8B-B14F-4D97-AF65-F5344CB8AC3E}">
        <p14:creationId xmlns:p14="http://schemas.microsoft.com/office/powerpoint/2010/main" val="24405320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10FD7A5-9476-E5DF-05EC-129D921F2BAF}"/>
              </a:ext>
            </a:extLst>
          </p:cNvPr>
          <p:cNvGraphicFramePr>
            <a:graphicFrameLocks noChangeAspect="1"/>
          </p:cNvGraphicFramePr>
          <p:nvPr>
            <p:custDataLst>
              <p:tags r:id="rId21"/>
            </p:custDataLst>
            <p:extLst>
              <p:ext uri="{D42A27DB-BD31-4B8C-83A1-F6EECF244321}">
                <p14:modId xmlns:p14="http://schemas.microsoft.com/office/powerpoint/2010/main" val="1576190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402" imgH="398" progId="TCLayout.ActiveDocument.1">
                  <p:embed/>
                </p:oleObj>
              </mc:Choice>
              <mc:Fallback>
                <p:oleObj name="think-cell Folie" r:id="rId22" imgW="402" imgH="398" progId="TCLayout.ActiveDocument.1">
                  <p:embed/>
                  <p:pic>
                    <p:nvPicPr>
                      <p:cNvPr id="4" name="Objekt 3" hidden="1">
                        <a:extLst>
                          <a:ext uri="{FF2B5EF4-FFF2-40B4-BE49-F238E27FC236}">
                            <a16:creationId xmlns:a16="http://schemas.microsoft.com/office/drawing/2014/main" id="{F10FD7A5-9476-E5DF-05EC-129D921F2BAF}"/>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extplatzhalter 1"/>
          <p:cNvSpPr>
            <a:spLocks noGrp="1"/>
          </p:cNvSpPr>
          <p:nvPr>
            <p:ph type="body" idx="1"/>
          </p:nvPr>
        </p:nvSpPr>
        <p:spPr bwMode="gray">
          <a:xfrm>
            <a:off x="407988" y="1700808"/>
            <a:ext cx="11376644" cy="4392017"/>
          </a:xfrm>
          <a:prstGeom prst="rect">
            <a:avLst/>
          </a:prstGeom>
        </p:spPr>
        <p:txBody>
          <a:bodyPr vert="horz" lIns="0" tIns="18000" rIns="0" bIns="0" rtlCol="0">
            <a:noAutofit/>
          </a:bodyPr>
          <a:lstStyle/>
          <a:p>
            <a:pPr lvl="0"/>
            <a:r>
              <a:rPr lang="de-DE"/>
              <a:t>Text einfügen, Corbel 18-10 </a:t>
            </a:r>
            <a:r>
              <a:rPr lang="de-DE" err="1"/>
              <a:t>pt</a:t>
            </a:r>
            <a:r>
              <a:rPr lang="de-DE"/>
              <a:t>.</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54" name="TextBox 7"/>
          <p:cNvSpPr txBox="1"/>
          <p:nvPr/>
        </p:nvSpPr>
        <p:spPr bwMode="gray">
          <a:xfrm>
            <a:off x="11352632" y="6513751"/>
            <a:ext cx="432000" cy="216000"/>
          </a:xfrm>
          <a:prstGeom prst="rect">
            <a:avLst/>
          </a:prstGeom>
        </p:spPr>
        <p:txBody>
          <a:bodyPr vert="horz" lIns="0" tIns="0" rIns="0" bIns="0" rtlCol="0" anchor="ctr" anchorCtr="0"/>
          <a:lstStyle>
            <a:defPPr>
              <a:defRPr lang="en-US"/>
            </a:defPPr>
            <a:lvl1pPr>
              <a:defRPr sz="1200">
                <a:solidFill>
                  <a:schemeClr val="tx1">
                    <a:tint val="75000"/>
                  </a:schemeClr>
                </a:solidFill>
              </a:defRPr>
            </a:lvl1pPr>
          </a:lstStyle>
          <a:p>
            <a:pPr lvl="0" algn="r"/>
            <a:fld id="{D4AAFCC5-D135-4797-B61F-A5C3BB0DC17E}" type="slidenum">
              <a:rPr lang="de-DE" sz="900" b="0" i="0" u="none" kern="1200" smtClean="0">
                <a:solidFill>
                  <a:schemeClr val="tx1"/>
                </a:solidFill>
                <a:latin typeface="+mn-lt"/>
                <a:ea typeface="+mj-ea"/>
                <a:cs typeface="Arial" panose="020B0604020202020204" pitchFamily="34" charset="0"/>
              </a:rPr>
              <a:pPr lvl="0" algn="r"/>
              <a:t>‹Nr.›</a:t>
            </a:fld>
            <a:endParaRPr lang="de-DE" sz="900" b="0" i="0" u="none" kern="1200">
              <a:solidFill>
                <a:schemeClr val="tx1"/>
              </a:solidFill>
              <a:latin typeface="+mn-lt"/>
              <a:ea typeface="+mj-ea"/>
              <a:cs typeface="Arial" panose="020B0604020202020204" pitchFamily="34" charset="0"/>
            </a:endParaRPr>
          </a:p>
        </p:txBody>
      </p:sp>
      <p:sp>
        <p:nvSpPr>
          <p:cNvPr id="58" name="Rechteck 57"/>
          <p:cNvSpPr/>
          <p:nvPr/>
        </p:nvSpPr>
        <p:spPr bwMode="gray">
          <a:xfrm>
            <a:off x="396963" y="6552502"/>
            <a:ext cx="581891" cy="138499"/>
          </a:xfrm>
          <a:prstGeom prst="rect">
            <a:avLst/>
          </a:prstGeom>
        </p:spPr>
        <p:txBody>
          <a:bodyPr wrap="none" lIns="0" tIns="0" rIns="0" bIns="0">
            <a:spAutoFit/>
          </a:bodyPr>
          <a:lstStyle/>
          <a:p>
            <a:pPr marL="0" marR="0" lvl="0" indent="0" defTabSz="914400" eaLnBrk="1" fontAlgn="auto" latinLnBrk="0" hangingPunct="1">
              <a:lnSpc>
                <a:spcPct val="100000"/>
              </a:lnSpc>
              <a:spcBef>
                <a:spcPts val="600"/>
              </a:spcBef>
              <a:spcAft>
                <a:spcPts val="0"/>
              </a:spcAft>
              <a:buClrTx/>
              <a:buSzTx/>
              <a:buFontTx/>
              <a:buNone/>
              <a:tabLst/>
              <a:defRPr/>
            </a:pPr>
            <a:fld id="{02337E45-728D-4F91-915C-3A00294C8321}" type="datetime1">
              <a:rPr kumimoji="0" lang="de-DE" sz="900" b="0" i="0" u="none" strike="noStrike" kern="0" cap="none" spc="0" normalizeH="0" baseline="0" noProof="0" smtClean="0">
                <a:ln>
                  <a:noFill/>
                </a:ln>
                <a:solidFill>
                  <a:schemeClr val="tx1"/>
                </a:solidFill>
                <a:effectLst/>
                <a:uLnTx/>
                <a:uFillTx/>
              </a:rPr>
              <a:pPr marL="0" marR="0" lvl="0" indent="0" defTabSz="914400" eaLnBrk="1" fontAlgn="auto" latinLnBrk="0" hangingPunct="1">
                <a:lnSpc>
                  <a:spcPct val="100000"/>
                </a:lnSpc>
                <a:spcBef>
                  <a:spcPts val="600"/>
                </a:spcBef>
                <a:spcAft>
                  <a:spcPts val="0"/>
                </a:spcAft>
                <a:buClrTx/>
                <a:buSzTx/>
                <a:buFontTx/>
                <a:buNone/>
                <a:tabLst/>
                <a:defRPr/>
              </a:pPr>
              <a:t>10.12.2024</a:t>
            </a:fld>
            <a:r>
              <a:rPr kumimoji="0" lang="de-DE" sz="900" b="0" i="0" u="none" strike="noStrike" kern="0" cap="none" spc="0" normalizeH="0" baseline="0" noProof="0">
                <a:ln>
                  <a:noFill/>
                </a:ln>
                <a:solidFill>
                  <a:schemeClr val="tx1"/>
                </a:solidFill>
                <a:effectLst/>
                <a:uLnTx/>
                <a:uFillTx/>
              </a:rPr>
              <a:t>  </a:t>
            </a:r>
            <a:r>
              <a:rPr kumimoji="0" lang="de-DE" sz="900" b="0" i="0" u="none" strike="noStrike" kern="0" cap="none" spc="0" normalizeH="0" baseline="0" noProof="0">
                <a:ln>
                  <a:noFill/>
                </a:ln>
                <a:solidFill>
                  <a:schemeClr val="tx1"/>
                </a:solidFill>
                <a:effectLst/>
                <a:uLnTx/>
                <a:uFillTx/>
                <a:latin typeface="Corbel" panose="020B0503020204020204" pitchFamily="34" charset="0"/>
              </a:rPr>
              <a:t>·</a:t>
            </a:r>
            <a:endParaRPr kumimoji="0" lang="de-DE" sz="900" b="0" i="0" u="none" strike="noStrike" kern="0" cap="none" spc="0" normalizeH="0" baseline="0" noProof="0">
              <a:ln>
                <a:noFill/>
              </a:ln>
              <a:solidFill>
                <a:schemeClr val="tx1"/>
              </a:solidFill>
              <a:effectLst/>
              <a:uLnTx/>
              <a:uFillTx/>
            </a:endParaRPr>
          </a:p>
        </p:txBody>
      </p:sp>
      <p:cxnSp>
        <p:nvCxnSpPr>
          <p:cNvPr id="13" name="Gerader Verbinder 12">
            <a:extLst>
              <a:ext uri="{FF2B5EF4-FFF2-40B4-BE49-F238E27FC236}">
                <a16:creationId xmlns:a16="http://schemas.microsoft.com/office/drawing/2014/main" id="{D6418E03-1302-4D0D-9714-6E90ED9DD043}"/>
              </a:ext>
            </a:extLst>
          </p:cNvPr>
          <p:cNvCxnSpPr/>
          <p:nvPr/>
        </p:nvCxnSpPr>
        <p:spPr bwMode="gray">
          <a:xfrm>
            <a:off x="407368"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04D7092F-9575-4772-81D3-AEE3FAAFFDCC}"/>
              </a:ext>
            </a:extLst>
          </p:cNvPr>
          <p:cNvCxnSpPr/>
          <p:nvPr/>
        </p:nvCxnSpPr>
        <p:spPr bwMode="gray">
          <a:xfrm>
            <a:off x="1091444"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3AF50785-1E67-4526-92D1-689B0DABEEF9}"/>
              </a:ext>
            </a:extLst>
          </p:cNvPr>
          <p:cNvCxnSpPr/>
          <p:nvPr/>
        </p:nvCxnSpPr>
        <p:spPr bwMode="gray">
          <a:xfrm>
            <a:off x="1379476"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CF3C02A1-23CD-4BE7-9773-C0CB84A2208A}"/>
              </a:ext>
            </a:extLst>
          </p:cNvPr>
          <p:cNvCxnSpPr/>
          <p:nvPr/>
        </p:nvCxnSpPr>
        <p:spPr bwMode="gray">
          <a:xfrm>
            <a:off x="2063552"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301D7D2F-DB2D-49D3-8F5A-A441F19DF5E0}"/>
              </a:ext>
            </a:extLst>
          </p:cNvPr>
          <p:cNvCxnSpPr/>
          <p:nvPr/>
        </p:nvCxnSpPr>
        <p:spPr bwMode="gray">
          <a:xfrm>
            <a:off x="2351584"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FDC0F1DC-A75E-4D9B-A9A8-8B1D9395CF0E}"/>
              </a:ext>
            </a:extLst>
          </p:cNvPr>
          <p:cNvCxnSpPr/>
          <p:nvPr/>
        </p:nvCxnSpPr>
        <p:spPr bwMode="gray">
          <a:xfrm>
            <a:off x="3035660"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DAD48CE5-D75A-40A4-8649-A9C63AC42F4A}"/>
              </a:ext>
            </a:extLst>
          </p:cNvPr>
          <p:cNvCxnSpPr/>
          <p:nvPr/>
        </p:nvCxnSpPr>
        <p:spPr bwMode="gray">
          <a:xfrm>
            <a:off x="3323692"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8044AC15-7713-4448-87D3-3C8B58C3023F}"/>
              </a:ext>
            </a:extLst>
          </p:cNvPr>
          <p:cNvCxnSpPr/>
          <p:nvPr/>
        </p:nvCxnSpPr>
        <p:spPr bwMode="gray">
          <a:xfrm>
            <a:off x="4007768"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718F7086-14BE-4E3A-998A-9E1D0B83A966}"/>
              </a:ext>
            </a:extLst>
          </p:cNvPr>
          <p:cNvCxnSpPr/>
          <p:nvPr/>
        </p:nvCxnSpPr>
        <p:spPr bwMode="gray">
          <a:xfrm>
            <a:off x="4295800"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r Verbinder 89">
            <a:extLst>
              <a:ext uri="{FF2B5EF4-FFF2-40B4-BE49-F238E27FC236}">
                <a16:creationId xmlns:a16="http://schemas.microsoft.com/office/drawing/2014/main" id="{C66361ED-7DED-4A8C-BB4A-E71D109C72A4}"/>
              </a:ext>
            </a:extLst>
          </p:cNvPr>
          <p:cNvCxnSpPr/>
          <p:nvPr/>
        </p:nvCxnSpPr>
        <p:spPr bwMode="gray">
          <a:xfrm>
            <a:off x="4979876"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60396D98-EA42-4D91-B306-8A0C266FCDC3}"/>
              </a:ext>
            </a:extLst>
          </p:cNvPr>
          <p:cNvCxnSpPr/>
          <p:nvPr/>
        </p:nvCxnSpPr>
        <p:spPr bwMode="gray">
          <a:xfrm>
            <a:off x="5267908"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B5B4AE52-A3CE-4DC0-8E42-74366585A483}"/>
              </a:ext>
            </a:extLst>
          </p:cNvPr>
          <p:cNvCxnSpPr/>
          <p:nvPr/>
        </p:nvCxnSpPr>
        <p:spPr bwMode="gray">
          <a:xfrm>
            <a:off x="5951984"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51D92503-BE75-4A51-89E0-CC34F82B8BF0}"/>
              </a:ext>
            </a:extLst>
          </p:cNvPr>
          <p:cNvCxnSpPr/>
          <p:nvPr/>
        </p:nvCxnSpPr>
        <p:spPr bwMode="gray">
          <a:xfrm>
            <a:off x="6240016"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8749625B-9362-4FD7-9DB7-AF3E6167A41E}"/>
              </a:ext>
            </a:extLst>
          </p:cNvPr>
          <p:cNvCxnSpPr/>
          <p:nvPr/>
        </p:nvCxnSpPr>
        <p:spPr bwMode="gray">
          <a:xfrm>
            <a:off x="6924092"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802A9A65-81D8-47D7-83F0-5A1242ADCABF}"/>
              </a:ext>
            </a:extLst>
          </p:cNvPr>
          <p:cNvCxnSpPr/>
          <p:nvPr/>
        </p:nvCxnSpPr>
        <p:spPr bwMode="gray">
          <a:xfrm>
            <a:off x="7212124"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7A7B3BE1-F347-40D6-854F-DC70A7D8EB08}"/>
              </a:ext>
            </a:extLst>
          </p:cNvPr>
          <p:cNvCxnSpPr/>
          <p:nvPr/>
        </p:nvCxnSpPr>
        <p:spPr bwMode="gray">
          <a:xfrm>
            <a:off x="7896200"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12C88D47-A1E6-4AA1-AC4D-2F33ACD615A7}"/>
              </a:ext>
            </a:extLst>
          </p:cNvPr>
          <p:cNvCxnSpPr/>
          <p:nvPr/>
        </p:nvCxnSpPr>
        <p:spPr bwMode="gray">
          <a:xfrm>
            <a:off x="8184232"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B5082D3A-3EC9-437D-B9DF-0309F4B26F2F}"/>
              </a:ext>
            </a:extLst>
          </p:cNvPr>
          <p:cNvCxnSpPr/>
          <p:nvPr/>
        </p:nvCxnSpPr>
        <p:spPr bwMode="gray">
          <a:xfrm>
            <a:off x="8868308"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46B373F3-E1FC-456E-B5A6-3600C602BD69}"/>
              </a:ext>
            </a:extLst>
          </p:cNvPr>
          <p:cNvCxnSpPr/>
          <p:nvPr/>
        </p:nvCxnSpPr>
        <p:spPr bwMode="gray">
          <a:xfrm>
            <a:off x="9156340"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98C96197-23C2-49F1-A0F9-3A1246D324B6}"/>
              </a:ext>
            </a:extLst>
          </p:cNvPr>
          <p:cNvCxnSpPr/>
          <p:nvPr/>
        </p:nvCxnSpPr>
        <p:spPr bwMode="gray">
          <a:xfrm>
            <a:off x="9840416"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1730E785-04A3-4C4D-B0F4-7D391DA326AB}"/>
              </a:ext>
            </a:extLst>
          </p:cNvPr>
          <p:cNvCxnSpPr/>
          <p:nvPr/>
        </p:nvCxnSpPr>
        <p:spPr bwMode="gray">
          <a:xfrm>
            <a:off x="10128448"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6EC27D53-0E09-4252-A274-9CEFDFBD7EE0}"/>
              </a:ext>
            </a:extLst>
          </p:cNvPr>
          <p:cNvCxnSpPr/>
          <p:nvPr/>
        </p:nvCxnSpPr>
        <p:spPr bwMode="gray">
          <a:xfrm>
            <a:off x="10812524"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060DEAE3-0F7F-45DD-8470-26CCC972F64E}"/>
              </a:ext>
            </a:extLst>
          </p:cNvPr>
          <p:cNvCxnSpPr/>
          <p:nvPr/>
        </p:nvCxnSpPr>
        <p:spPr bwMode="gray">
          <a:xfrm>
            <a:off x="11100556"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C69EE90B-3D79-44D3-8161-60484FFE3577}"/>
              </a:ext>
            </a:extLst>
          </p:cNvPr>
          <p:cNvCxnSpPr/>
          <p:nvPr/>
        </p:nvCxnSpPr>
        <p:spPr bwMode="gray">
          <a:xfrm>
            <a:off x="11784632"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8A0FE6CF-8D3B-480F-A7F3-1A48F27D9683}"/>
              </a:ext>
            </a:extLst>
          </p:cNvPr>
          <p:cNvCxnSpPr>
            <a:cxnSpLocks/>
          </p:cNvCxnSpPr>
          <p:nvPr/>
        </p:nvCxnSpPr>
        <p:spPr bwMode="gray">
          <a:xfrm rot="16200000">
            <a:off x="-96680" y="296656"/>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4AA98E21-B36A-450E-AAEB-8CD2CB71E17B}"/>
              </a:ext>
            </a:extLst>
          </p:cNvPr>
          <p:cNvCxnSpPr>
            <a:cxnSpLocks/>
          </p:cNvCxnSpPr>
          <p:nvPr/>
        </p:nvCxnSpPr>
        <p:spPr bwMode="gray">
          <a:xfrm rot="16200000">
            <a:off x="-96680" y="1736816"/>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6E001AB5-0CFB-43EB-83DB-E3E5E3CCA26D}"/>
              </a:ext>
            </a:extLst>
          </p:cNvPr>
          <p:cNvCxnSpPr>
            <a:cxnSpLocks/>
          </p:cNvCxnSpPr>
          <p:nvPr/>
        </p:nvCxnSpPr>
        <p:spPr bwMode="gray">
          <a:xfrm rot="16200000">
            <a:off x="-96680" y="6057296"/>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ußzeilenplatzhalter 2">
            <a:extLst>
              <a:ext uri="{FF2B5EF4-FFF2-40B4-BE49-F238E27FC236}">
                <a16:creationId xmlns:a16="http://schemas.microsoft.com/office/drawing/2014/main" id="{FD949B66-5221-5B65-0C5D-58D2F0D74F5D}"/>
              </a:ext>
            </a:extLst>
          </p:cNvPr>
          <p:cNvSpPr>
            <a:spLocks noGrp="1"/>
          </p:cNvSpPr>
          <p:nvPr>
            <p:ph type="ftr" sz="quarter" idx="3"/>
          </p:nvPr>
        </p:nvSpPr>
        <p:spPr>
          <a:xfrm>
            <a:off x="1043758" y="6552502"/>
            <a:ext cx="5880918" cy="138499"/>
          </a:xfrm>
          <a:prstGeom prst="rect">
            <a:avLst/>
          </a:prstGeom>
        </p:spPr>
        <p:txBody>
          <a:bodyPr vert="horz" wrap="square" lIns="0" tIns="0" rIns="0" bIns="0" rtlCol="0" anchor="ctr">
            <a:spAutoFit/>
          </a:bodyPr>
          <a:lstStyle>
            <a:lvl1pPr algn="l">
              <a:defRPr sz="900">
                <a:solidFill>
                  <a:schemeClr val="tx1"/>
                </a:solidFill>
              </a:defRPr>
            </a:lvl1pPr>
          </a:lstStyle>
          <a:p>
            <a:r>
              <a:rPr lang="de-DE"/>
              <a:t>Kommunale Wärmeplanung Verbandsgemeinde Unkel</a:t>
            </a:r>
            <a:endParaRPr lang="de-DE" dirty="0"/>
          </a:p>
        </p:txBody>
      </p:sp>
      <p:cxnSp>
        <p:nvCxnSpPr>
          <p:cNvPr id="8" name="Gerader Verbinder 7">
            <a:extLst>
              <a:ext uri="{FF2B5EF4-FFF2-40B4-BE49-F238E27FC236}">
                <a16:creationId xmlns:a16="http://schemas.microsoft.com/office/drawing/2014/main" id="{30C49BCA-F0FF-E1FA-D55D-A02EC92BD170}"/>
              </a:ext>
            </a:extLst>
          </p:cNvPr>
          <p:cNvCxnSpPr/>
          <p:nvPr userDrawn="1"/>
        </p:nvCxnSpPr>
        <p:spPr bwMode="gray">
          <a:xfrm>
            <a:off x="407368"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1F2BAA68-A99C-51AB-4AB9-2A7CBCC05E3E}"/>
              </a:ext>
            </a:extLst>
          </p:cNvPr>
          <p:cNvCxnSpPr/>
          <p:nvPr userDrawn="1"/>
        </p:nvCxnSpPr>
        <p:spPr bwMode="gray">
          <a:xfrm>
            <a:off x="1091444"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4E7A9795-0B88-CC9B-CB95-B644B49917D1}"/>
              </a:ext>
            </a:extLst>
          </p:cNvPr>
          <p:cNvCxnSpPr/>
          <p:nvPr userDrawn="1"/>
        </p:nvCxnSpPr>
        <p:spPr bwMode="gray">
          <a:xfrm>
            <a:off x="1379476"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0FC123B-0CC5-7A57-6A8E-05BFE0A900D8}"/>
              </a:ext>
            </a:extLst>
          </p:cNvPr>
          <p:cNvCxnSpPr/>
          <p:nvPr userDrawn="1"/>
        </p:nvCxnSpPr>
        <p:spPr bwMode="gray">
          <a:xfrm>
            <a:off x="2063552"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9A009A63-5FED-B96A-A3FA-0EC608F2BEF5}"/>
              </a:ext>
            </a:extLst>
          </p:cNvPr>
          <p:cNvCxnSpPr/>
          <p:nvPr userDrawn="1"/>
        </p:nvCxnSpPr>
        <p:spPr bwMode="gray">
          <a:xfrm>
            <a:off x="2351584"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A8C7F33-5533-17D2-4227-DAEC429A7C17}"/>
              </a:ext>
            </a:extLst>
          </p:cNvPr>
          <p:cNvCxnSpPr/>
          <p:nvPr userDrawn="1"/>
        </p:nvCxnSpPr>
        <p:spPr bwMode="gray">
          <a:xfrm>
            <a:off x="3035660"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3FCC7076-0E3A-69D6-A93B-720BE6BB81EF}"/>
              </a:ext>
            </a:extLst>
          </p:cNvPr>
          <p:cNvCxnSpPr/>
          <p:nvPr userDrawn="1"/>
        </p:nvCxnSpPr>
        <p:spPr bwMode="gray">
          <a:xfrm>
            <a:off x="3323692"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B73861BD-DADB-3BD2-FE9A-E8127B52441B}"/>
              </a:ext>
            </a:extLst>
          </p:cNvPr>
          <p:cNvCxnSpPr/>
          <p:nvPr userDrawn="1"/>
        </p:nvCxnSpPr>
        <p:spPr bwMode="gray">
          <a:xfrm>
            <a:off x="4007768"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1F964A8-86BC-F2FB-9697-5290A2E82D3A}"/>
              </a:ext>
            </a:extLst>
          </p:cNvPr>
          <p:cNvCxnSpPr/>
          <p:nvPr userDrawn="1"/>
        </p:nvCxnSpPr>
        <p:spPr bwMode="gray">
          <a:xfrm>
            <a:off x="4295800"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A742A14F-9C50-09B2-E63B-B7E6B463948C}"/>
              </a:ext>
            </a:extLst>
          </p:cNvPr>
          <p:cNvCxnSpPr/>
          <p:nvPr userDrawn="1"/>
        </p:nvCxnSpPr>
        <p:spPr bwMode="gray">
          <a:xfrm>
            <a:off x="4979876"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28BAE0C-31B4-CD48-E28F-9CB9FCC4BC1B}"/>
              </a:ext>
            </a:extLst>
          </p:cNvPr>
          <p:cNvCxnSpPr/>
          <p:nvPr userDrawn="1"/>
        </p:nvCxnSpPr>
        <p:spPr bwMode="gray">
          <a:xfrm>
            <a:off x="5267908"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926EE701-928D-9C5B-2350-FE65C6F05074}"/>
              </a:ext>
            </a:extLst>
          </p:cNvPr>
          <p:cNvCxnSpPr/>
          <p:nvPr userDrawn="1"/>
        </p:nvCxnSpPr>
        <p:spPr bwMode="gray">
          <a:xfrm>
            <a:off x="5951984"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C9F1070E-BDE5-66CC-5C95-9695609CF092}"/>
              </a:ext>
            </a:extLst>
          </p:cNvPr>
          <p:cNvCxnSpPr/>
          <p:nvPr userDrawn="1"/>
        </p:nvCxnSpPr>
        <p:spPr bwMode="gray">
          <a:xfrm>
            <a:off x="6240016"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636AE2E0-BEDC-1433-A8DD-B2F4B580221B}"/>
              </a:ext>
            </a:extLst>
          </p:cNvPr>
          <p:cNvCxnSpPr/>
          <p:nvPr userDrawn="1"/>
        </p:nvCxnSpPr>
        <p:spPr bwMode="gray">
          <a:xfrm>
            <a:off x="6924092"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96FAA3B7-6161-F6D1-77EF-C9D1D330131C}"/>
              </a:ext>
            </a:extLst>
          </p:cNvPr>
          <p:cNvCxnSpPr/>
          <p:nvPr userDrawn="1"/>
        </p:nvCxnSpPr>
        <p:spPr bwMode="gray">
          <a:xfrm>
            <a:off x="7212124"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83B62002-0DA5-20B9-04F8-E7633D6EA85E}"/>
              </a:ext>
            </a:extLst>
          </p:cNvPr>
          <p:cNvCxnSpPr/>
          <p:nvPr userDrawn="1"/>
        </p:nvCxnSpPr>
        <p:spPr bwMode="gray">
          <a:xfrm>
            <a:off x="7896200"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185E7A2E-1746-A63E-88AA-9ACEFBA24E1F}"/>
              </a:ext>
            </a:extLst>
          </p:cNvPr>
          <p:cNvCxnSpPr/>
          <p:nvPr userDrawn="1"/>
        </p:nvCxnSpPr>
        <p:spPr bwMode="gray">
          <a:xfrm>
            <a:off x="8184232"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FF56A5DB-F280-1BE0-26AE-4B88EF532F0B}"/>
              </a:ext>
            </a:extLst>
          </p:cNvPr>
          <p:cNvCxnSpPr/>
          <p:nvPr userDrawn="1"/>
        </p:nvCxnSpPr>
        <p:spPr bwMode="gray">
          <a:xfrm>
            <a:off x="8868308"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4A2B9150-0A95-74AD-B21C-FB5B728DD12A}"/>
              </a:ext>
            </a:extLst>
          </p:cNvPr>
          <p:cNvCxnSpPr/>
          <p:nvPr userDrawn="1"/>
        </p:nvCxnSpPr>
        <p:spPr bwMode="gray">
          <a:xfrm>
            <a:off x="9156340"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0B4D18C3-5631-B041-7DF4-5E4657FA029B}"/>
              </a:ext>
            </a:extLst>
          </p:cNvPr>
          <p:cNvCxnSpPr/>
          <p:nvPr userDrawn="1"/>
        </p:nvCxnSpPr>
        <p:spPr bwMode="gray">
          <a:xfrm>
            <a:off x="9840416"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E9ECDF34-092D-2AA8-E7E6-1815F3D58F72}"/>
              </a:ext>
            </a:extLst>
          </p:cNvPr>
          <p:cNvCxnSpPr/>
          <p:nvPr userDrawn="1"/>
        </p:nvCxnSpPr>
        <p:spPr bwMode="gray">
          <a:xfrm>
            <a:off x="10128448"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2D61713C-F863-1127-7A91-7A77820E28AE}"/>
              </a:ext>
            </a:extLst>
          </p:cNvPr>
          <p:cNvCxnSpPr/>
          <p:nvPr userDrawn="1"/>
        </p:nvCxnSpPr>
        <p:spPr bwMode="gray">
          <a:xfrm>
            <a:off x="10812524"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0D22A6EE-2C93-5AA2-5FFA-95672AC35409}"/>
              </a:ext>
            </a:extLst>
          </p:cNvPr>
          <p:cNvCxnSpPr/>
          <p:nvPr userDrawn="1"/>
        </p:nvCxnSpPr>
        <p:spPr bwMode="gray">
          <a:xfrm>
            <a:off x="11100556"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EBA7BD40-47E1-572F-6E99-99A1805810F5}"/>
              </a:ext>
            </a:extLst>
          </p:cNvPr>
          <p:cNvCxnSpPr/>
          <p:nvPr userDrawn="1"/>
        </p:nvCxnSpPr>
        <p:spPr bwMode="gray">
          <a:xfrm>
            <a:off x="11784632" y="-135384"/>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1E40E5B3-8149-CFD7-E333-3D302BC83033}"/>
              </a:ext>
            </a:extLst>
          </p:cNvPr>
          <p:cNvCxnSpPr>
            <a:cxnSpLocks/>
          </p:cNvCxnSpPr>
          <p:nvPr userDrawn="1"/>
        </p:nvCxnSpPr>
        <p:spPr bwMode="gray">
          <a:xfrm rot="16200000">
            <a:off x="-96680" y="296656"/>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2C64491C-86D2-D228-B142-F2F8206940B9}"/>
              </a:ext>
            </a:extLst>
          </p:cNvPr>
          <p:cNvCxnSpPr>
            <a:cxnSpLocks/>
          </p:cNvCxnSpPr>
          <p:nvPr userDrawn="1"/>
        </p:nvCxnSpPr>
        <p:spPr bwMode="gray">
          <a:xfrm rot="16200000">
            <a:off x="-96680" y="1736816"/>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0BE6A8AB-185C-4964-2022-3732404BA6BE}"/>
              </a:ext>
            </a:extLst>
          </p:cNvPr>
          <p:cNvCxnSpPr>
            <a:cxnSpLocks/>
          </p:cNvCxnSpPr>
          <p:nvPr userDrawn="1"/>
        </p:nvCxnSpPr>
        <p:spPr bwMode="gray">
          <a:xfrm rot="16200000">
            <a:off x="-96680" y="6057296"/>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itelplatzhalter 41">
            <a:extLst>
              <a:ext uri="{FF2B5EF4-FFF2-40B4-BE49-F238E27FC236}">
                <a16:creationId xmlns:a16="http://schemas.microsoft.com/office/drawing/2014/main" id="{67CD0E52-9346-2AE8-C69A-83D27598BCB6}"/>
              </a:ext>
            </a:extLst>
          </p:cNvPr>
          <p:cNvSpPr>
            <a:spLocks noGrp="1"/>
          </p:cNvSpPr>
          <p:nvPr>
            <p:ph type="title"/>
          </p:nvPr>
        </p:nvSpPr>
        <p:spPr bwMode="gray">
          <a:xfrm>
            <a:off x="407988" y="260350"/>
            <a:ext cx="10411966" cy="710853"/>
          </a:xfrm>
          <a:prstGeom prst="rect">
            <a:avLst/>
          </a:prstGeom>
          <a:noFill/>
        </p:spPr>
        <p:txBody>
          <a:bodyPr vert="horz" lIns="0" tIns="0" rIns="0" bIns="0" rtlCol="0" anchor="b" anchorCtr="0">
            <a:noAutofit/>
          </a:bodyPr>
          <a:lstStyle/>
          <a:p>
            <a:endParaRPr lang="de-DE"/>
          </a:p>
        </p:txBody>
      </p:sp>
    </p:spTree>
    <p:extLst>
      <p:ext uri="{BB962C8B-B14F-4D97-AF65-F5344CB8AC3E}">
        <p14:creationId xmlns:p14="http://schemas.microsoft.com/office/powerpoint/2010/main" val="35917539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Lst>
  <p:hf sldNum="0" hdr="0" dt="0"/>
  <p:txStyles>
    <p:titleStyle>
      <a:lvl1pPr algn="l" defTabSz="914400" rtl="0" eaLnBrk="1" latinLnBrk="0" hangingPunct="1">
        <a:lnSpc>
          <a:spcPct val="100000"/>
        </a:lnSpc>
        <a:spcBef>
          <a:spcPct val="0"/>
        </a:spcBef>
        <a:buNone/>
        <a:defRPr sz="2400" kern="1200" baseline="0">
          <a:solidFill>
            <a:schemeClr val="tx2"/>
          </a:solidFill>
          <a:latin typeface="+mj-lt"/>
          <a:ea typeface="+mj-ea"/>
          <a:cs typeface="+mj-cs"/>
        </a:defRPr>
      </a:lvl1pPr>
    </p:titleStyle>
    <p:bodyStyle>
      <a:lvl1pPr marL="176213" marR="0" indent="-176213" algn="l" defTabSz="914400" rtl="0" eaLnBrk="1" fontAlgn="base" latinLnBrk="0" hangingPunct="1">
        <a:lnSpc>
          <a:spcPct val="100000"/>
        </a:lnSpc>
        <a:spcBef>
          <a:spcPct val="0"/>
        </a:spcBef>
        <a:spcAft>
          <a:spcPts val="1200"/>
        </a:spcAft>
        <a:buClr>
          <a:schemeClr val="tx2"/>
        </a:buClr>
        <a:buSzPct val="75000"/>
        <a:buFont typeface="Wingdings 3" panose="05040102010807070707" pitchFamily="18" charset="2"/>
        <a:buChar char="}"/>
        <a:tabLst/>
        <a:defRPr sz="1800" kern="1200" baseline="0">
          <a:solidFill>
            <a:schemeClr val="tx1"/>
          </a:solidFill>
          <a:latin typeface="+mn-lt"/>
          <a:ea typeface="+mn-ea"/>
          <a:cs typeface="+mn-cs"/>
        </a:defRPr>
      </a:lvl1pPr>
      <a:lvl2pPr marL="360363" marR="0" indent="-184150" algn="l" defTabSz="914400" rtl="0" eaLnBrk="1" fontAlgn="base" latinLnBrk="0" hangingPunct="1">
        <a:lnSpc>
          <a:spcPct val="100000"/>
        </a:lnSpc>
        <a:spcBef>
          <a:spcPts val="0"/>
        </a:spcBef>
        <a:spcAft>
          <a:spcPts val="600"/>
        </a:spcAft>
        <a:buClr>
          <a:schemeClr val="tx2"/>
        </a:buClr>
        <a:buSzPct val="75000"/>
        <a:buFont typeface="Wingdings" panose="05000000000000000000" pitchFamily="2" charset="2"/>
        <a:buChar char="§"/>
        <a:tabLst/>
        <a:defRPr sz="1600" kern="1200">
          <a:solidFill>
            <a:schemeClr val="tx1"/>
          </a:solidFill>
          <a:latin typeface="+mn-lt"/>
          <a:ea typeface="+mn-ea"/>
          <a:cs typeface="+mn-cs"/>
        </a:defRPr>
      </a:lvl2pPr>
      <a:lvl3pPr marL="534988" marR="0" indent="-174625" algn="l" defTabSz="914400" rtl="0" eaLnBrk="1" fontAlgn="base" latinLnBrk="0" hangingPunct="1">
        <a:lnSpc>
          <a:spcPct val="100000"/>
        </a:lnSpc>
        <a:spcBef>
          <a:spcPts val="0"/>
        </a:spcBef>
        <a:spcAft>
          <a:spcPts val="600"/>
        </a:spcAft>
        <a:buClr>
          <a:schemeClr val="tx2"/>
        </a:buClr>
        <a:buSzPct val="75000"/>
        <a:buFont typeface="Symbol" panose="05050102010706020507" pitchFamily="18" charset="2"/>
        <a:buChar char="-"/>
        <a:tabLst/>
        <a:defRPr sz="1400" kern="1200">
          <a:solidFill>
            <a:schemeClr val="tx1"/>
          </a:solidFill>
          <a:latin typeface="+mn-lt"/>
          <a:ea typeface="+mn-ea"/>
          <a:cs typeface="+mn-cs"/>
        </a:defRPr>
      </a:lvl3pPr>
      <a:lvl4pPr marL="720725" marR="0" indent="-185738" algn="l" defTabSz="914400" rtl="0" eaLnBrk="1" fontAlgn="base" latinLnBrk="0" hangingPunct="1">
        <a:lnSpc>
          <a:spcPct val="100000"/>
        </a:lnSpc>
        <a:spcBef>
          <a:spcPts val="0"/>
        </a:spcBef>
        <a:spcAft>
          <a:spcPts val="600"/>
        </a:spcAft>
        <a:buClr>
          <a:schemeClr val="tx2"/>
        </a:buClr>
        <a:buSzPct val="75000"/>
        <a:buFont typeface="Arial" panose="020B0604020202020204" pitchFamily="34" charset="0"/>
        <a:buChar char="•"/>
        <a:tabLst/>
        <a:defRPr sz="1200" kern="1200">
          <a:solidFill>
            <a:schemeClr val="tx1"/>
          </a:solidFill>
          <a:latin typeface="+mn-lt"/>
          <a:ea typeface="+mn-ea"/>
          <a:cs typeface="+mn-cs"/>
        </a:defRPr>
      </a:lvl4pPr>
      <a:lvl5pPr marL="895350" marR="0" indent="-174625" algn="l" defTabSz="914400" rtl="0" eaLnBrk="1" fontAlgn="base" latinLnBrk="0" hangingPunct="1">
        <a:lnSpc>
          <a:spcPct val="100000"/>
        </a:lnSpc>
        <a:spcBef>
          <a:spcPts val="0"/>
        </a:spcBef>
        <a:spcAft>
          <a:spcPts val="600"/>
        </a:spcAft>
        <a:buClr>
          <a:schemeClr val="tx2"/>
        </a:buClr>
        <a:buSzPct val="75000"/>
        <a:buFont typeface="Corbel" panose="020B0503020204020204" pitchFamily="34" charset="0"/>
        <a:buChar char="»"/>
        <a:tabLst/>
        <a:defRPr sz="1000" kern="1200">
          <a:solidFill>
            <a:schemeClr val="tx1"/>
          </a:solidFill>
          <a:latin typeface="+mn-lt"/>
          <a:ea typeface="+mn-ea"/>
          <a:cs typeface="+mn-cs"/>
        </a:defRPr>
      </a:lvl5pPr>
      <a:lvl6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6pPr>
      <a:lvl7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7pPr>
      <a:lvl8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8pPr>
      <a:lvl9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0" orient="horz" pos="3838" userDrawn="1">
          <p15:clr>
            <a:srgbClr val="F26B43"/>
          </p15:clr>
        </p15:guide>
        <p15:guide id="71" orient="horz" pos="1117" userDrawn="1">
          <p15:clr>
            <a:srgbClr val="F26B43"/>
          </p15:clr>
        </p15:guide>
        <p15:guide id="72" orient="horz" pos="210" userDrawn="1">
          <p15:clr>
            <a:srgbClr val="F26B43"/>
          </p15:clr>
        </p15:guide>
        <p15:guide id="73" pos="257" userDrawn="1">
          <p15:clr>
            <a:srgbClr val="F26B43"/>
          </p15:clr>
        </p15:guide>
        <p15:guide id="74" pos="7423" userDrawn="1">
          <p15:clr>
            <a:srgbClr val="F26B43"/>
          </p15:clr>
        </p15:guide>
        <p15:guide id="75" pos="3749" userDrawn="1">
          <p15:clr>
            <a:srgbClr val="A4A3A4"/>
          </p15:clr>
        </p15:guide>
        <p15:guide id="76" pos="3931" userDrawn="1">
          <p15:clr>
            <a:srgbClr val="A4A3A4"/>
          </p15:clr>
        </p15:guide>
        <p15:guide id="77" pos="688" userDrawn="1">
          <p15:clr>
            <a:srgbClr val="A4A3A4"/>
          </p15:clr>
        </p15:guide>
        <p15:guide id="78" pos="869" userDrawn="1">
          <p15:clr>
            <a:srgbClr val="A4A3A4"/>
          </p15:clr>
        </p15:guide>
        <p15:guide id="79" pos="1300" userDrawn="1">
          <p15:clr>
            <a:srgbClr val="A4A3A4"/>
          </p15:clr>
        </p15:guide>
        <p15:guide id="80" pos="1481" userDrawn="1">
          <p15:clr>
            <a:srgbClr val="A4A3A4"/>
          </p15:clr>
        </p15:guide>
        <p15:guide id="81" pos="1912" userDrawn="1">
          <p15:clr>
            <a:srgbClr val="A4A3A4"/>
          </p15:clr>
        </p15:guide>
        <p15:guide id="82" pos="2094" userDrawn="1">
          <p15:clr>
            <a:srgbClr val="A4A3A4"/>
          </p15:clr>
        </p15:guide>
        <p15:guide id="83" pos="2525" userDrawn="1">
          <p15:clr>
            <a:srgbClr val="A4A3A4"/>
          </p15:clr>
        </p15:guide>
        <p15:guide id="84" pos="2706" userDrawn="1">
          <p15:clr>
            <a:srgbClr val="A4A3A4"/>
          </p15:clr>
        </p15:guide>
        <p15:guide id="85" pos="3137" userDrawn="1">
          <p15:clr>
            <a:srgbClr val="A4A3A4"/>
          </p15:clr>
        </p15:guide>
        <p15:guide id="86" pos="3318" userDrawn="1">
          <p15:clr>
            <a:srgbClr val="A4A3A4"/>
          </p15:clr>
        </p15:guide>
        <p15:guide id="87" pos="4362" userDrawn="1">
          <p15:clr>
            <a:srgbClr val="A4A3A4"/>
          </p15:clr>
        </p15:guide>
        <p15:guide id="88" pos="4543" userDrawn="1">
          <p15:clr>
            <a:srgbClr val="A4A3A4"/>
          </p15:clr>
        </p15:guide>
        <p15:guide id="89" pos="4974" userDrawn="1">
          <p15:clr>
            <a:srgbClr val="A4A3A4"/>
          </p15:clr>
        </p15:guide>
        <p15:guide id="90" pos="5155" userDrawn="1">
          <p15:clr>
            <a:srgbClr val="A4A3A4"/>
          </p15:clr>
        </p15:guide>
        <p15:guide id="91" pos="5586" userDrawn="1">
          <p15:clr>
            <a:srgbClr val="A4A3A4"/>
          </p15:clr>
        </p15:guide>
        <p15:guide id="92" pos="5768" userDrawn="1">
          <p15:clr>
            <a:srgbClr val="A4A3A4"/>
          </p15:clr>
        </p15:guide>
        <p15:guide id="93" pos="6199" userDrawn="1">
          <p15:clr>
            <a:srgbClr val="A4A3A4"/>
          </p15:clr>
        </p15:guide>
        <p15:guide id="94" pos="6380" userDrawn="1">
          <p15:clr>
            <a:srgbClr val="A4A3A4"/>
          </p15:clr>
        </p15:guide>
        <p15:guide id="95" pos="6811" userDrawn="1">
          <p15:clr>
            <a:srgbClr val="A4A3A4"/>
          </p15:clr>
        </p15:guide>
        <p15:guide id="96" pos="6992" userDrawn="1">
          <p15:clr>
            <a:srgbClr val="A4A3A4"/>
          </p15:clr>
        </p15:guide>
        <p15:guide id="97" pos="3840" userDrawn="1">
          <p15:clr>
            <a:srgbClr val="F26B43"/>
          </p15:clr>
        </p15:guide>
        <p15:guide id="98" pos="483" userDrawn="1">
          <p15:clr>
            <a:srgbClr val="5ACBF0"/>
          </p15:clr>
        </p15:guide>
        <p15:guide id="99" orient="horz" pos="890" userDrawn="1">
          <p15:clr>
            <a:srgbClr val="F26B43"/>
          </p15:clr>
        </p15:guide>
        <p15:guide id="100" orient="horz" pos="663" userDrawn="1">
          <p15:clr>
            <a:srgbClr val="F26B43"/>
          </p15:clr>
        </p15:guide>
        <p15:guide id="101" orient="horz" pos="436" userDrawn="1">
          <p15:clr>
            <a:srgbClr val="F26B43"/>
          </p15:clr>
        </p15:guide>
        <p15:guide id="102" orient="horz" pos="1344" userDrawn="1">
          <p15:clr>
            <a:srgbClr val="F26B43"/>
          </p15:clr>
        </p15:guide>
        <p15:guide id="103" orient="horz" pos="1570" userDrawn="1">
          <p15:clr>
            <a:srgbClr val="F26B43"/>
          </p15:clr>
        </p15:guide>
        <p15:guide id="104" orient="horz" pos="1797" userDrawn="1">
          <p15:clr>
            <a:srgbClr val="F26B43"/>
          </p15:clr>
        </p15:guide>
        <p15:guide id="105" orient="horz" pos="2024" userDrawn="1">
          <p15:clr>
            <a:srgbClr val="F26B43"/>
          </p15:clr>
        </p15:guide>
        <p15:guide id="106" orient="horz" pos="2251" userDrawn="1">
          <p15:clr>
            <a:srgbClr val="F26B43"/>
          </p15:clr>
        </p15:guide>
        <p15:guide id="107" orient="horz" pos="2478" userDrawn="1">
          <p15:clr>
            <a:srgbClr val="F26B43"/>
          </p15:clr>
        </p15:guide>
        <p15:guide id="108" orient="horz" pos="2704" userDrawn="1">
          <p15:clr>
            <a:srgbClr val="F26B43"/>
          </p15:clr>
        </p15:guide>
        <p15:guide id="109" orient="horz" pos="2931" userDrawn="1">
          <p15:clr>
            <a:srgbClr val="F26B43"/>
          </p15:clr>
        </p15:guide>
        <p15:guide id="110" orient="horz" pos="3158" userDrawn="1">
          <p15:clr>
            <a:srgbClr val="F26B43"/>
          </p15:clr>
        </p15:guide>
        <p15:guide id="111" orient="horz" pos="3385" userDrawn="1">
          <p15:clr>
            <a:srgbClr val="F26B43"/>
          </p15:clr>
        </p15:guide>
        <p15:guide id="112" orient="horz" pos="36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9.emf"/></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2.xml"/><Relationship Id="rId7"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1.xml"/><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15.png"/><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16.png"/><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782FADE-0A34-0721-7D0D-0E3D532EDBA2}"/>
              </a:ext>
            </a:extLst>
          </p:cNvPr>
          <p:cNvGraphicFramePr>
            <a:graphicFrameLocks noChangeAspect="1"/>
          </p:cNvGraphicFramePr>
          <p:nvPr>
            <p:custDataLst>
              <p:tags r:id="rId1"/>
            </p:custDataLst>
            <p:extLst>
              <p:ext uri="{D42A27DB-BD31-4B8C-83A1-F6EECF244321}">
                <p14:modId xmlns:p14="http://schemas.microsoft.com/office/powerpoint/2010/main" val="672099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2" imgH="398" progId="TCLayout.ActiveDocument.1">
                  <p:embed/>
                </p:oleObj>
              </mc:Choice>
              <mc:Fallback>
                <p:oleObj name="think-cell Folie" r:id="rId4" imgW="402" imgH="398" progId="TCLayout.ActiveDocument.1">
                  <p:embed/>
                  <p:pic>
                    <p:nvPicPr>
                      <p:cNvPr id="6" name="Objekt 5" hidden="1">
                        <a:extLst>
                          <a:ext uri="{FF2B5EF4-FFF2-40B4-BE49-F238E27FC236}">
                            <a16:creationId xmlns:a16="http://schemas.microsoft.com/office/drawing/2014/main" id="{3782FADE-0A34-0721-7D0D-0E3D532EDB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5E29EB59-F4F9-934B-C6AF-5B743BAB27DB}"/>
              </a:ext>
            </a:extLst>
          </p:cNvPr>
          <p:cNvSpPr>
            <a:spLocks noGrp="1"/>
          </p:cNvSpPr>
          <p:nvPr>
            <p:ph type="title"/>
          </p:nvPr>
        </p:nvSpPr>
        <p:spPr/>
        <p:txBody>
          <a:bodyPr vert="horz"/>
          <a:lstStyle/>
          <a:p>
            <a:pPr algn="ctr"/>
            <a:r>
              <a:rPr lang="de-DE" dirty="0"/>
              <a:t>Kommunale Wärmeplanung der Verbandsgemeinde Unkel</a:t>
            </a:r>
          </a:p>
        </p:txBody>
      </p:sp>
      <p:sp>
        <p:nvSpPr>
          <p:cNvPr id="5" name="Untertitel 4">
            <a:extLst>
              <a:ext uri="{FF2B5EF4-FFF2-40B4-BE49-F238E27FC236}">
                <a16:creationId xmlns:a16="http://schemas.microsoft.com/office/drawing/2014/main" id="{3B5C146B-DA67-93D7-761A-A487D5EA0F81}"/>
              </a:ext>
            </a:extLst>
          </p:cNvPr>
          <p:cNvSpPr>
            <a:spLocks noGrp="1"/>
          </p:cNvSpPr>
          <p:nvPr>
            <p:ph type="subTitle" idx="1"/>
          </p:nvPr>
        </p:nvSpPr>
        <p:spPr>
          <a:xfrm>
            <a:off x="766763" y="4005064"/>
            <a:ext cx="10045699" cy="864000"/>
          </a:xfrm>
        </p:spPr>
        <p:txBody>
          <a:bodyPr/>
          <a:lstStyle/>
          <a:p>
            <a:pPr algn="ctr"/>
            <a:r>
              <a:rPr lang="de-DE" dirty="0"/>
              <a:t>Was ist die kommunale Wärmeplanung und wie gehen wir vor?</a:t>
            </a:r>
          </a:p>
          <a:p>
            <a:endParaRPr lang="de-DE" dirty="0"/>
          </a:p>
        </p:txBody>
      </p:sp>
      <p:pic>
        <p:nvPicPr>
          <p:cNvPr id="3" name="Picture 2">
            <a:extLst>
              <a:ext uri="{FF2B5EF4-FFF2-40B4-BE49-F238E27FC236}">
                <a16:creationId xmlns:a16="http://schemas.microsoft.com/office/drawing/2014/main" id="{0174D702-25FD-24B6-8BAE-46C68F53F8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14961" y="1445418"/>
            <a:ext cx="1362075" cy="1590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7497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think-cell data - do not delete" hidden="1">
            <a:extLst>
              <a:ext uri="{FF2B5EF4-FFF2-40B4-BE49-F238E27FC236}">
                <a16:creationId xmlns:a16="http://schemas.microsoft.com/office/drawing/2014/main" id="{EF7FCE15-1C33-5BD9-5A18-3B91B8225932}"/>
              </a:ext>
            </a:extLst>
          </p:cNvPr>
          <p:cNvGraphicFramePr>
            <a:graphicFrameLocks noChangeAspect="1"/>
          </p:cNvGraphicFramePr>
          <p:nvPr>
            <p:custDataLst>
              <p:tags r:id="rId1"/>
            </p:custDataLst>
            <p:extLst>
              <p:ext uri="{D42A27DB-BD31-4B8C-83A1-F6EECF244321}">
                <p14:modId xmlns:p14="http://schemas.microsoft.com/office/powerpoint/2010/main" val="400651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3" name="think-cell data - do not delete" hidden="1">
                        <a:extLst>
                          <a:ext uri="{FF2B5EF4-FFF2-40B4-BE49-F238E27FC236}">
                            <a16:creationId xmlns:a16="http://schemas.microsoft.com/office/drawing/2014/main" id="{EF7FCE15-1C33-5BD9-5A18-3B91B82259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59AFAA4-80A3-6927-EAA7-B168221A4368}"/>
              </a:ext>
            </a:extLst>
          </p:cNvPr>
          <p:cNvSpPr>
            <a:spLocks noGrp="1"/>
          </p:cNvSpPr>
          <p:nvPr>
            <p:ph type="title"/>
          </p:nvPr>
        </p:nvSpPr>
        <p:spPr/>
        <p:txBody>
          <a:bodyPr vert="horz"/>
          <a:lstStyle/>
          <a:p>
            <a:r>
              <a:rPr lang="de-DE" dirty="0"/>
              <a:t>Kommunale Wärmeplanung in der Verbandsgemeinde Unkel</a:t>
            </a:r>
          </a:p>
        </p:txBody>
      </p:sp>
      <p:sp>
        <p:nvSpPr>
          <p:cNvPr id="109" name="Rechteck 108">
            <a:extLst>
              <a:ext uri="{FF2B5EF4-FFF2-40B4-BE49-F238E27FC236}">
                <a16:creationId xmlns:a16="http://schemas.microsoft.com/office/drawing/2014/main" id="{8EF605D7-71CB-506B-9C36-E266B74AB017}"/>
              </a:ext>
            </a:extLst>
          </p:cNvPr>
          <p:cNvSpPr/>
          <p:nvPr/>
        </p:nvSpPr>
        <p:spPr>
          <a:xfrm>
            <a:off x="684311" y="3994151"/>
            <a:ext cx="2700000" cy="1111250"/>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altLang="en-US" sz="1600" b="0" i="0" u="none" strike="noStrike" kern="1200" cap="none" spc="0" normalizeH="0" baseline="0" noProof="0" dirty="0">
                <a:ln>
                  <a:noFill/>
                </a:ln>
                <a:solidFill>
                  <a:srgbClr val="000000"/>
                </a:solidFill>
                <a:effectLst/>
                <a:uLnTx/>
                <a:uFillTx/>
                <a:latin typeface="Corbel"/>
                <a:ea typeface="+mn-ea"/>
                <a:cs typeface="+mn-cs"/>
              </a:rPr>
              <a:t>Bestand- und Potenzialanalyse</a:t>
            </a:r>
          </a:p>
          <a:p>
            <a:pPr marL="0" marR="0" lvl="0" indent="0" algn="ctr" defTabSz="914400" rtl="0" eaLnBrk="1" fontAlgn="auto" latinLnBrk="0" hangingPunct="1">
              <a:lnSpc>
                <a:spcPct val="100000"/>
              </a:lnSpc>
              <a:spcBef>
                <a:spcPts val="0"/>
              </a:spcBef>
              <a:spcAft>
                <a:spcPct val="0"/>
              </a:spcAft>
              <a:buClrTx/>
              <a:buSzTx/>
              <a:buFontTx/>
              <a:buNone/>
              <a:tabLst/>
              <a:defRPr/>
            </a:pPr>
            <a:r>
              <a:rPr lang="de-DE" altLang="en-US" sz="1600" dirty="0">
                <a:solidFill>
                  <a:srgbClr val="000000"/>
                </a:solidFill>
                <a:latin typeface="Corbel"/>
              </a:rPr>
              <a:t>(A)</a:t>
            </a:r>
            <a:endParaRPr kumimoji="0" lang="de-DE" altLang="en-US" sz="1600" b="0" i="0" u="none" strike="noStrike" kern="1200" cap="none" spc="0" normalizeH="0" baseline="0" noProof="0" dirty="0">
              <a:ln>
                <a:noFill/>
              </a:ln>
              <a:solidFill>
                <a:srgbClr val="000000"/>
              </a:solidFill>
              <a:effectLst/>
              <a:uLnTx/>
              <a:uFillTx/>
              <a:latin typeface="Corbel"/>
              <a:ea typeface="+mn-ea"/>
              <a:cs typeface="+mn-cs"/>
            </a:endParaRPr>
          </a:p>
        </p:txBody>
      </p:sp>
      <p:sp>
        <p:nvSpPr>
          <p:cNvPr id="110" name="Rechteck 109">
            <a:extLst>
              <a:ext uri="{FF2B5EF4-FFF2-40B4-BE49-F238E27FC236}">
                <a16:creationId xmlns:a16="http://schemas.microsoft.com/office/drawing/2014/main" id="{F6631214-AF0E-5447-3183-4E09A000C2C6}"/>
              </a:ext>
            </a:extLst>
          </p:cNvPr>
          <p:cNvSpPr/>
          <p:nvPr/>
        </p:nvSpPr>
        <p:spPr>
          <a:xfrm>
            <a:off x="3457269" y="3994151"/>
            <a:ext cx="2700000" cy="1111250"/>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altLang="en-US" sz="1600" b="0" i="0" u="none" strike="noStrike" kern="1200" cap="none" spc="0" normalizeH="0" baseline="0" noProof="0" dirty="0">
                <a:ln>
                  <a:noFill/>
                </a:ln>
                <a:solidFill>
                  <a:srgbClr val="000000"/>
                </a:solidFill>
                <a:effectLst/>
                <a:uLnTx/>
                <a:uFillTx/>
                <a:latin typeface="Corbel"/>
                <a:ea typeface="+mn-ea"/>
                <a:cs typeface="+mn-cs"/>
              </a:rPr>
              <a:t>Zielszenarien und Strategieentwicklung</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Corbel"/>
                <a:ea typeface="+mn-ea"/>
                <a:cs typeface="+mn-cs"/>
              </a:rPr>
              <a:t>(B)</a:t>
            </a:r>
          </a:p>
        </p:txBody>
      </p:sp>
      <p:sp>
        <p:nvSpPr>
          <p:cNvPr id="111" name="Rechteck 110">
            <a:extLst>
              <a:ext uri="{FF2B5EF4-FFF2-40B4-BE49-F238E27FC236}">
                <a16:creationId xmlns:a16="http://schemas.microsoft.com/office/drawing/2014/main" id="{EF446D3B-78D0-FBD4-C2B8-0585167BC9E1}"/>
              </a:ext>
            </a:extLst>
          </p:cNvPr>
          <p:cNvSpPr/>
          <p:nvPr/>
        </p:nvSpPr>
        <p:spPr>
          <a:xfrm>
            <a:off x="6243198" y="3994151"/>
            <a:ext cx="2700000" cy="1111250"/>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en-US" sz="1600" b="1" i="0" u="none" strike="noStrike" kern="1200" cap="none" spc="0" normalizeH="0" baseline="0" noProof="0" dirty="0">
                <a:ln>
                  <a:noFill/>
                </a:ln>
                <a:solidFill>
                  <a:srgbClr val="000000"/>
                </a:solidFill>
                <a:effectLst/>
                <a:uLnTx/>
                <a:uFillTx/>
                <a:latin typeface="Corbel"/>
                <a:ea typeface="+mn-ea"/>
                <a:cs typeface="+mn-cs"/>
              </a:rPr>
              <a:t>Akteurs- und Öffentlichkeitsbeteiligung</a:t>
            </a:r>
            <a:endParaRPr lang="de-DE" altLang="en-US" sz="1600" b="1" dirty="0">
              <a:solidFill>
                <a:srgbClr val="000000"/>
              </a:solidFill>
              <a:latin typeface="Corbe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en-US" sz="1600" b="1" i="0" u="none" strike="noStrike" kern="1200" cap="none" spc="0" normalizeH="0" baseline="0" noProof="0" dirty="0">
                <a:ln>
                  <a:noFill/>
                </a:ln>
                <a:solidFill>
                  <a:srgbClr val="000000"/>
                </a:solidFill>
                <a:effectLst/>
                <a:uLnTx/>
                <a:uFillTx/>
                <a:latin typeface="Corbel"/>
                <a:ea typeface="+mn-ea"/>
                <a:cs typeface="+mn-cs"/>
              </a:rPr>
              <a:t>(C)</a:t>
            </a:r>
          </a:p>
        </p:txBody>
      </p:sp>
      <p:sp>
        <p:nvSpPr>
          <p:cNvPr id="112" name="Rechteck 111">
            <a:extLst>
              <a:ext uri="{FF2B5EF4-FFF2-40B4-BE49-F238E27FC236}">
                <a16:creationId xmlns:a16="http://schemas.microsoft.com/office/drawing/2014/main" id="{A279F28F-211D-848E-7F59-976358D95F16}"/>
              </a:ext>
            </a:extLst>
          </p:cNvPr>
          <p:cNvSpPr/>
          <p:nvPr/>
        </p:nvSpPr>
        <p:spPr>
          <a:xfrm>
            <a:off x="9029128" y="3994151"/>
            <a:ext cx="2700000" cy="1111250"/>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altLang="en-US" sz="1600" b="1" i="0" u="none" strike="noStrike" kern="1200" cap="none" spc="0" normalizeH="0" baseline="0" noProof="0" dirty="0">
                <a:ln>
                  <a:noFill/>
                </a:ln>
                <a:solidFill>
                  <a:srgbClr val="000000"/>
                </a:solidFill>
                <a:effectLst/>
                <a:uLnTx/>
                <a:uFillTx/>
                <a:latin typeface="Corbel"/>
                <a:ea typeface="+mn-ea"/>
                <a:cs typeface="+mn-cs"/>
              </a:rPr>
              <a:t>Verstetigung und Controlling</a:t>
            </a:r>
          </a:p>
          <a:p>
            <a:pPr marL="0" marR="0" lvl="0" indent="0" algn="ctr" defTabSz="914400" rtl="0" eaLnBrk="1" fontAlgn="auto" latinLnBrk="0" hangingPunct="1">
              <a:lnSpc>
                <a:spcPct val="100000"/>
              </a:lnSpc>
              <a:spcBef>
                <a:spcPts val="0"/>
              </a:spcBef>
              <a:spcAft>
                <a:spcPct val="0"/>
              </a:spcAft>
              <a:buClrTx/>
              <a:buSzTx/>
              <a:buFontTx/>
              <a:buNone/>
              <a:tabLst/>
              <a:defRPr/>
            </a:pPr>
            <a:r>
              <a:rPr lang="de-DE" altLang="en-US" sz="1600" b="1" dirty="0">
                <a:solidFill>
                  <a:srgbClr val="000000"/>
                </a:solidFill>
                <a:latin typeface="Corbel"/>
              </a:rPr>
              <a:t>(D)</a:t>
            </a:r>
            <a:endParaRPr kumimoji="0" lang="de-DE" altLang="en-US" sz="1600" b="1" i="0" u="none" strike="noStrike" kern="1200" cap="none" spc="0" normalizeH="0" baseline="0" noProof="0" dirty="0">
              <a:ln>
                <a:noFill/>
              </a:ln>
              <a:solidFill>
                <a:srgbClr val="000000"/>
              </a:solidFill>
              <a:effectLst/>
              <a:uLnTx/>
              <a:uFillTx/>
              <a:latin typeface="Corbel"/>
              <a:ea typeface="+mn-ea"/>
              <a:cs typeface="+mn-cs"/>
            </a:endParaRPr>
          </a:p>
        </p:txBody>
      </p:sp>
      <p:sp>
        <p:nvSpPr>
          <p:cNvPr id="113" name="Rechteck 112">
            <a:extLst>
              <a:ext uri="{FF2B5EF4-FFF2-40B4-BE49-F238E27FC236}">
                <a16:creationId xmlns:a16="http://schemas.microsoft.com/office/drawing/2014/main" id="{38F71E93-0188-1145-4A51-B831E251B8F4}"/>
              </a:ext>
            </a:extLst>
          </p:cNvPr>
          <p:cNvSpPr/>
          <p:nvPr/>
        </p:nvSpPr>
        <p:spPr>
          <a:xfrm>
            <a:off x="284688" y="3994150"/>
            <a:ext cx="324197" cy="1111251"/>
          </a:xfrm>
          <a:prstGeom prst="rect">
            <a:avLst/>
          </a:prstGeom>
          <a:solidFill>
            <a:srgbClr val="D2D3D5"/>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5F5E5E"/>
                </a:solidFill>
                <a:effectLst/>
                <a:uLnTx/>
                <a:uFillTx/>
                <a:latin typeface="Corbel"/>
                <a:ea typeface="+mn-ea"/>
                <a:cs typeface="Segoe UI" panose="020B0502040204020203" pitchFamily="34" charset="0"/>
              </a:rPr>
              <a:t>Teil</a:t>
            </a:r>
            <a:r>
              <a:rPr lang="de-DE" sz="1600" dirty="0" err="1">
                <a:solidFill>
                  <a:srgbClr val="5F5E5E"/>
                </a:solidFill>
                <a:latin typeface="Corbel"/>
                <a:cs typeface="Segoe UI" panose="020B0502040204020203" pitchFamily="34" charset="0"/>
              </a:rPr>
              <a:t>projekte</a:t>
            </a:r>
            <a:endParaRPr kumimoji="0" lang="de-DE" sz="1100" b="0" i="0" u="none" strike="noStrike" kern="1200" cap="none" spc="0" normalizeH="0" baseline="0" noProof="0" dirty="0">
              <a:ln>
                <a:noFill/>
              </a:ln>
              <a:solidFill>
                <a:srgbClr val="5F5E5E"/>
              </a:solidFill>
              <a:effectLst/>
              <a:uLnTx/>
              <a:uFillTx/>
              <a:latin typeface="Corbel"/>
              <a:ea typeface="+mn-ea"/>
              <a:cs typeface="Segoe UI" panose="020B0502040204020203" pitchFamily="34" charset="0"/>
            </a:endParaRPr>
          </a:p>
        </p:txBody>
      </p:sp>
      <p:sp>
        <p:nvSpPr>
          <p:cNvPr id="3" name="Rechteck 2">
            <a:extLst>
              <a:ext uri="{FF2B5EF4-FFF2-40B4-BE49-F238E27FC236}">
                <a16:creationId xmlns:a16="http://schemas.microsoft.com/office/drawing/2014/main" id="{AC062B76-0E37-7A1D-9A67-E9B3C3F5798F}"/>
              </a:ext>
            </a:extLst>
          </p:cNvPr>
          <p:cNvSpPr/>
          <p:nvPr/>
        </p:nvSpPr>
        <p:spPr>
          <a:xfrm rot="5400000">
            <a:off x="5776735" y="-2047140"/>
            <a:ext cx="460341" cy="11444439"/>
          </a:xfrm>
          <a:prstGeom prst="rect">
            <a:avLst/>
          </a:prstGeom>
          <a:solidFill>
            <a:srgbClr val="D2D3D5"/>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5F5E5E"/>
                </a:solidFill>
                <a:effectLst/>
                <a:uLnTx/>
                <a:uFillTx/>
                <a:latin typeface="Corbel"/>
                <a:ea typeface="+mn-ea"/>
                <a:cs typeface="Segoe UI" panose="020B0502040204020203" pitchFamily="34" charset="0"/>
              </a:rPr>
              <a:t>Teilprojekte der kommunalen Wärmeplanung</a:t>
            </a:r>
            <a:endParaRPr kumimoji="0" lang="de-DE" sz="1100" b="1" i="0" u="none" strike="noStrike" kern="1200" cap="none" spc="0" normalizeH="0" baseline="0" noProof="0" dirty="0">
              <a:ln>
                <a:noFill/>
              </a:ln>
              <a:solidFill>
                <a:srgbClr val="5F5E5E"/>
              </a:solidFill>
              <a:effectLst/>
              <a:uLnTx/>
              <a:uFillTx/>
              <a:latin typeface="Corbel"/>
              <a:ea typeface="+mn-ea"/>
              <a:cs typeface="Segoe UI" panose="020B0502040204020203" pitchFamily="34" charset="0"/>
            </a:endParaRPr>
          </a:p>
        </p:txBody>
      </p:sp>
      <p:sp>
        <p:nvSpPr>
          <p:cNvPr id="5" name="Inhaltsplatzhalter 5">
            <a:extLst>
              <a:ext uri="{FF2B5EF4-FFF2-40B4-BE49-F238E27FC236}">
                <a16:creationId xmlns:a16="http://schemas.microsoft.com/office/drawing/2014/main" id="{B459B1BF-E27E-3489-6ECF-228FD9508BF5}"/>
              </a:ext>
            </a:extLst>
          </p:cNvPr>
          <p:cNvSpPr txBox="1">
            <a:spLocks/>
          </p:cNvSpPr>
          <p:nvPr/>
        </p:nvSpPr>
        <p:spPr>
          <a:xfrm>
            <a:off x="184150" y="1383308"/>
            <a:ext cx="11633199" cy="1978983"/>
          </a:xfrm>
          <a:prstGeom prst="rect">
            <a:avLst/>
          </a:prstGeom>
        </p:spPr>
        <p:txBody>
          <a:bodyPr/>
          <a:lstStyle>
            <a:lvl1pPr marL="176213" marR="0" indent="-176213" algn="l" defTabSz="914400" rtl="0" eaLnBrk="1" fontAlgn="base" latinLnBrk="0" hangingPunct="1">
              <a:lnSpc>
                <a:spcPct val="100000"/>
              </a:lnSpc>
              <a:spcBef>
                <a:spcPct val="0"/>
              </a:spcBef>
              <a:spcAft>
                <a:spcPts val="1200"/>
              </a:spcAft>
              <a:buClr>
                <a:schemeClr val="tx2"/>
              </a:buClr>
              <a:buSzPct val="75000"/>
              <a:buFont typeface="Wingdings 3" panose="05040102010807070707" pitchFamily="18" charset="2"/>
              <a:buChar char="}"/>
              <a:tabLst/>
              <a:defRPr sz="1800" kern="1200" baseline="0">
                <a:solidFill>
                  <a:schemeClr val="tx1"/>
                </a:solidFill>
                <a:latin typeface="+mn-lt"/>
                <a:ea typeface="+mn-ea"/>
                <a:cs typeface="+mn-cs"/>
              </a:defRPr>
            </a:lvl1pPr>
            <a:lvl2pPr marL="360363" marR="0" indent="-184150" algn="l" defTabSz="914400" rtl="0" eaLnBrk="1" fontAlgn="base" latinLnBrk="0" hangingPunct="1">
              <a:lnSpc>
                <a:spcPct val="100000"/>
              </a:lnSpc>
              <a:spcBef>
                <a:spcPts val="0"/>
              </a:spcBef>
              <a:spcAft>
                <a:spcPts val="600"/>
              </a:spcAft>
              <a:buClr>
                <a:schemeClr val="tx2"/>
              </a:buClr>
              <a:buSzPct val="75000"/>
              <a:buFont typeface="Wingdings" panose="05000000000000000000" pitchFamily="2" charset="2"/>
              <a:buChar char="§"/>
              <a:tabLst/>
              <a:defRPr sz="1600" kern="1200">
                <a:solidFill>
                  <a:schemeClr val="tx1"/>
                </a:solidFill>
                <a:latin typeface="+mn-lt"/>
                <a:ea typeface="+mn-ea"/>
                <a:cs typeface="+mn-cs"/>
              </a:defRPr>
            </a:lvl2pPr>
            <a:lvl3pPr marL="534988" marR="0" indent="-174625" algn="l" defTabSz="914400" rtl="0" eaLnBrk="1" fontAlgn="base" latinLnBrk="0" hangingPunct="1">
              <a:lnSpc>
                <a:spcPct val="100000"/>
              </a:lnSpc>
              <a:spcBef>
                <a:spcPts val="0"/>
              </a:spcBef>
              <a:spcAft>
                <a:spcPts val="600"/>
              </a:spcAft>
              <a:buClr>
                <a:schemeClr val="tx2"/>
              </a:buClr>
              <a:buSzPct val="75000"/>
              <a:buFont typeface="Symbol" panose="05050102010706020507" pitchFamily="18" charset="2"/>
              <a:buChar char="-"/>
              <a:tabLst/>
              <a:defRPr sz="1400" kern="1200">
                <a:solidFill>
                  <a:schemeClr val="tx1"/>
                </a:solidFill>
                <a:latin typeface="+mn-lt"/>
                <a:ea typeface="+mn-ea"/>
                <a:cs typeface="+mn-cs"/>
              </a:defRPr>
            </a:lvl3pPr>
            <a:lvl4pPr marL="720725" marR="0" indent="-185738" algn="l" defTabSz="914400" rtl="0" eaLnBrk="1" fontAlgn="base" latinLnBrk="0" hangingPunct="1">
              <a:lnSpc>
                <a:spcPct val="100000"/>
              </a:lnSpc>
              <a:spcBef>
                <a:spcPts val="0"/>
              </a:spcBef>
              <a:spcAft>
                <a:spcPts val="600"/>
              </a:spcAft>
              <a:buClr>
                <a:schemeClr val="tx2"/>
              </a:buClr>
              <a:buSzPct val="75000"/>
              <a:buFont typeface="Arial" panose="020B0604020202020204" pitchFamily="34" charset="0"/>
              <a:buChar char="•"/>
              <a:tabLst/>
              <a:defRPr sz="1200" kern="1200">
                <a:solidFill>
                  <a:schemeClr val="tx1"/>
                </a:solidFill>
                <a:latin typeface="+mn-lt"/>
                <a:ea typeface="+mn-ea"/>
                <a:cs typeface="+mn-cs"/>
              </a:defRPr>
            </a:lvl4pPr>
            <a:lvl5pPr marL="895350" marR="0" indent="-174625" algn="l" defTabSz="914400" rtl="0" eaLnBrk="1" fontAlgn="base" latinLnBrk="0" hangingPunct="1">
              <a:lnSpc>
                <a:spcPct val="100000"/>
              </a:lnSpc>
              <a:spcBef>
                <a:spcPts val="0"/>
              </a:spcBef>
              <a:spcAft>
                <a:spcPts val="600"/>
              </a:spcAft>
              <a:buClr>
                <a:schemeClr val="tx2"/>
              </a:buClr>
              <a:buSzPct val="75000"/>
              <a:buFont typeface="Corbel" panose="020B0503020204020204" pitchFamily="34" charset="0"/>
              <a:buChar char="»"/>
              <a:tabLst/>
              <a:defRPr sz="1000" kern="1200">
                <a:solidFill>
                  <a:schemeClr val="tx1"/>
                </a:solidFill>
                <a:latin typeface="+mn-lt"/>
                <a:ea typeface="+mn-ea"/>
                <a:cs typeface="+mn-cs"/>
              </a:defRPr>
            </a:lvl5pPr>
            <a:lvl6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6pPr>
            <a:lvl7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7pPr>
            <a:lvl8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8pPr>
            <a:lvl9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9pPr>
          </a:lstStyle>
          <a:p>
            <a:r>
              <a:rPr lang="de-DE" dirty="0"/>
              <a:t>Alle größeren Kommunen in Deutschland sind per Gesetz verpflichtet ihren Bürgern in den nächsten Jahren einen Plan vorzulegen, mit welchen Energieträgern und Heizungsarten die einzelnen Stadtviertel, Quartiere und Straßenzüge in Zukunft voraussichtlich mit Wärme versorgt werden</a:t>
            </a:r>
          </a:p>
          <a:p>
            <a:r>
              <a:rPr lang="de-DE" dirty="0"/>
              <a:t>Die Verbandsgemeinde Unkel führt stellvertretend eine einheitliche Planung für die vier zugehörigen Gemeinden durch</a:t>
            </a:r>
          </a:p>
          <a:p>
            <a:r>
              <a:rPr lang="de-DE" dirty="0"/>
              <a:t>Ziel ist eine ganzheitliche Planung der Wärmeversorgung, welche alle Belange von Bürgern und Akteuren berücksichtigt</a:t>
            </a:r>
          </a:p>
          <a:p>
            <a:endParaRPr lang="de-DE" dirty="0"/>
          </a:p>
        </p:txBody>
      </p:sp>
      <p:sp>
        <p:nvSpPr>
          <p:cNvPr id="6" name="Rechteck 5">
            <a:extLst>
              <a:ext uri="{FF2B5EF4-FFF2-40B4-BE49-F238E27FC236}">
                <a16:creationId xmlns:a16="http://schemas.microsoft.com/office/drawing/2014/main" id="{680BFEAA-F9DF-3F12-743E-85C7966C9104}"/>
              </a:ext>
            </a:extLst>
          </p:cNvPr>
          <p:cNvSpPr/>
          <p:nvPr/>
        </p:nvSpPr>
        <p:spPr>
          <a:xfrm>
            <a:off x="684311" y="3994150"/>
            <a:ext cx="2700000" cy="1111250"/>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altLang="en-US" sz="1600" b="0" i="0" u="none" strike="noStrike" kern="1200" cap="none" spc="0" normalizeH="0" baseline="0" noProof="0" dirty="0">
                <a:ln>
                  <a:noFill/>
                </a:ln>
                <a:solidFill>
                  <a:srgbClr val="000000"/>
                </a:solidFill>
                <a:effectLst/>
                <a:uLnTx/>
                <a:uFillTx/>
                <a:latin typeface="Corbel"/>
                <a:ea typeface="+mn-ea"/>
                <a:cs typeface="+mn-cs"/>
              </a:rPr>
              <a:t>Bestand- und Potenzialanalyse</a:t>
            </a:r>
          </a:p>
          <a:p>
            <a:pPr marL="0" marR="0" lvl="0" indent="0" algn="ctr" defTabSz="914400" rtl="0" eaLnBrk="1" fontAlgn="auto" latinLnBrk="0" hangingPunct="1">
              <a:lnSpc>
                <a:spcPct val="100000"/>
              </a:lnSpc>
              <a:spcBef>
                <a:spcPts val="0"/>
              </a:spcBef>
              <a:spcAft>
                <a:spcPct val="0"/>
              </a:spcAft>
              <a:buClrTx/>
              <a:buSzTx/>
              <a:buFontTx/>
              <a:buNone/>
              <a:tabLst/>
              <a:defRPr/>
            </a:pPr>
            <a:r>
              <a:rPr lang="de-DE" altLang="en-US" sz="1600" dirty="0">
                <a:solidFill>
                  <a:srgbClr val="000000"/>
                </a:solidFill>
                <a:latin typeface="Corbel"/>
              </a:rPr>
              <a:t>(A)</a:t>
            </a:r>
            <a:endParaRPr kumimoji="0" lang="de-DE" altLang="en-US" sz="1600" b="0" i="0" u="none" strike="noStrike" kern="1200" cap="none" spc="0" normalizeH="0" baseline="0" noProof="0" dirty="0">
              <a:ln>
                <a:noFill/>
              </a:ln>
              <a:solidFill>
                <a:srgbClr val="000000"/>
              </a:solidFill>
              <a:effectLst/>
              <a:uLnTx/>
              <a:uFillTx/>
              <a:latin typeface="Corbel"/>
              <a:ea typeface="+mn-ea"/>
              <a:cs typeface="+mn-cs"/>
            </a:endParaRPr>
          </a:p>
        </p:txBody>
      </p:sp>
      <p:sp>
        <p:nvSpPr>
          <p:cNvPr id="7" name="Rechteck 6">
            <a:extLst>
              <a:ext uri="{FF2B5EF4-FFF2-40B4-BE49-F238E27FC236}">
                <a16:creationId xmlns:a16="http://schemas.microsoft.com/office/drawing/2014/main" id="{6F4CB8B5-B073-EDC5-E9B5-B08F6ACAA888}"/>
              </a:ext>
            </a:extLst>
          </p:cNvPr>
          <p:cNvSpPr/>
          <p:nvPr/>
        </p:nvSpPr>
        <p:spPr>
          <a:xfrm>
            <a:off x="3457269" y="3994150"/>
            <a:ext cx="2700000" cy="1111250"/>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altLang="en-US" sz="1600" b="0" i="0" u="none" strike="noStrike" kern="1200" cap="none" spc="0" normalizeH="0" baseline="0" noProof="0" dirty="0">
                <a:ln>
                  <a:noFill/>
                </a:ln>
                <a:solidFill>
                  <a:srgbClr val="000000"/>
                </a:solidFill>
                <a:effectLst/>
                <a:uLnTx/>
                <a:uFillTx/>
                <a:latin typeface="Corbel"/>
                <a:ea typeface="+mn-ea"/>
                <a:cs typeface="+mn-cs"/>
              </a:rPr>
              <a:t>Zielszenarien und Strategieentwicklung</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Corbel"/>
                <a:ea typeface="+mn-ea"/>
                <a:cs typeface="+mn-cs"/>
              </a:rPr>
              <a:t>(B)</a:t>
            </a:r>
          </a:p>
        </p:txBody>
      </p:sp>
      <p:sp>
        <p:nvSpPr>
          <p:cNvPr id="8" name="Rechteck 7">
            <a:extLst>
              <a:ext uri="{FF2B5EF4-FFF2-40B4-BE49-F238E27FC236}">
                <a16:creationId xmlns:a16="http://schemas.microsoft.com/office/drawing/2014/main" id="{BB56BFC2-9BE8-BB7C-9207-FE52F5FCA2E3}"/>
              </a:ext>
            </a:extLst>
          </p:cNvPr>
          <p:cNvSpPr/>
          <p:nvPr/>
        </p:nvSpPr>
        <p:spPr>
          <a:xfrm>
            <a:off x="284688" y="3994149"/>
            <a:ext cx="324197" cy="1111251"/>
          </a:xfrm>
          <a:prstGeom prst="rect">
            <a:avLst/>
          </a:prstGeom>
          <a:solidFill>
            <a:srgbClr val="D2D3D5"/>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i="0" u="none" strike="noStrike" kern="1200" cap="none" spc="0" normalizeH="0" baseline="0" noProof="0" dirty="0">
                <a:ln>
                  <a:noFill/>
                </a:ln>
                <a:solidFill>
                  <a:srgbClr val="5F5E5E"/>
                </a:solidFill>
                <a:effectLst/>
                <a:uLnTx/>
                <a:uFillTx/>
                <a:latin typeface="Corbel"/>
                <a:ea typeface="+mn-ea"/>
                <a:cs typeface="Segoe UI" panose="020B0502040204020203" pitchFamily="34" charset="0"/>
              </a:rPr>
              <a:t>Teilprojekt</a:t>
            </a:r>
            <a:endParaRPr kumimoji="0" lang="de-DE" sz="1100" i="0" u="none" strike="noStrike" kern="1200" cap="none" spc="0" normalizeH="0" baseline="0" noProof="0" dirty="0">
              <a:ln>
                <a:noFill/>
              </a:ln>
              <a:solidFill>
                <a:srgbClr val="5F5E5E"/>
              </a:solidFill>
              <a:effectLst/>
              <a:uLnTx/>
              <a:uFillTx/>
              <a:latin typeface="Corbel"/>
              <a:ea typeface="+mn-ea"/>
              <a:cs typeface="Segoe UI" panose="020B0502040204020203" pitchFamily="34" charset="0"/>
            </a:endParaRPr>
          </a:p>
        </p:txBody>
      </p:sp>
      <p:sp>
        <p:nvSpPr>
          <p:cNvPr id="9" name="Rechteck 8">
            <a:extLst>
              <a:ext uri="{FF2B5EF4-FFF2-40B4-BE49-F238E27FC236}">
                <a16:creationId xmlns:a16="http://schemas.microsoft.com/office/drawing/2014/main" id="{8351E3C9-F702-778D-7AA0-5970933EA1C9}"/>
              </a:ext>
            </a:extLst>
          </p:cNvPr>
          <p:cNvSpPr/>
          <p:nvPr/>
        </p:nvSpPr>
        <p:spPr>
          <a:xfrm>
            <a:off x="6243195" y="5137152"/>
            <a:ext cx="2700000" cy="1276348"/>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en-US" sz="1200" b="0" i="0" u="none" strike="noStrike" kern="1200" cap="none" spc="0" normalizeH="0" baseline="0" noProof="0" dirty="0">
                <a:ln>
                  <a:noFill/>
                </a:ln>
                <a:solidFill>
                  <a:srgbClr val="000000"/>
                </a:solidFill>
                <a:effectLst/>
                <a:uLnTx/>
                <a:uFillTx/>
                <a:latin typeface="Corbel"/>
                <a:ea typeface="+mn-ea"/>
                <a:cs typeface="+mn-cs"/>
              </a:rPr>
              <a:t>Wir beteiligen alle für die Wärmeversorgung relevante Akteure und binden die  Öffentlichkeit, sowie alle Bürgerinnen und Bürger mit ein</a:t>
            </a:r>
          </a:p>
        </p:txBody>
      </p:sp>
      <p:sp>
        <p:nvSpPr>
          <p:cNvPr id="10" name="Rechteck 9">
            <a:extLst>
              <a:ext uri="{FF2B5EF4-FFF2-40B4-BE49-F238E27FC236}">
                <a16:creationId xmlns:a16="http://schemas.microsoft.com/office/drawing/2014/main" id="{FEB38D7D-1286-FDBC-2BFD-130E079CE667}"/>
              </a:ext>
            </a:extLst>
          </p:cNvPr>
          <p:cNvSpPr/>
          <p:nvPr/>
        </p:nvSpPr>
        <p:spPr>
          <a:xfrm>
            <a:off x="9029125" y="5137152"/>
            <a:ext cx="2700000" cy="1276348"/>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lang="de-DE" altLang="en-US" sz="1200" dirty="0">
                <a:solidFill>
                  <a:srgbClr val="000000"/>
                </a:solidFill>
                <a:latin typeface="Corbel"/>
              </a:rPr>
              <a:t>Wir erarbeiten</a:t>
            </a:r>
            <a:r>
              <a:rPr kumimoji="0" lang="de-DE" altLang="en-US" sz="1200" b="0" i="0" u="none" strike="noStrike" kern="1200" cap="none" spc="0" normalizeH="0" baseline="0" noProof="0" dirty="0">
                <a:ln>
                  <a:noFill/>
                </a:ln>
                <a:solidFill>
                  <a:srgbClr val="000000"/>
                </a:solidFill>
                <a:effectLst/>
                <a:uLnTx/>
                <a:uFillTx/>
                <a:latin typeface="Corbel"/>
                <a:ea typeface="+mn-ea"/>
                <a:cs typeface="+mn-cs"/>
              </a:rPr>
              <a:t> ein Verstetigungskonzept, um die Umsetzung der Wärmeplanung </a:t>
            </a:r>
            <a:r>
              <a:rPr lang="de-DE" altLang="en-US" sz="1200" dirty="0">
                <a:solidFill>
                  <a:srgbClr val="000000"/>
                </a:solidFill>
                <a:latin typeface="Corbel"/>
              </a:rPr>
              <a:t>in Zukunft </a:t>
            </a:r>
            <a:r>
              <a:rPr kumimoji="0" lang="de-DE" altLang="en-US" sz="1200" b="0" i="0" u="none" strike="noStrike" kern="1200" cap="none" spc="0" normalizeH="0" baseline="0" noProof="0" dirty="0">
                <a:ln>
                  <a:noFill/>
                </a:ln>
                <a:solidFill>
                  <a:srgbClr val="000000"/>
                </a:solidFill>
                <a:effectLst/>
                <a:uLnTx/>
                <a:uFillTx/>
                <a:latin typeface="Corbel"/>
                <a:ea typeface="+mn-ea"/>
                <a:cs typeface="+mn-cs"/>
              </a:rPr>
              <a:t>zu gewährleisten</a:t>
            </a:r>
          </a:p>
        </p:txBody>
      </p:sp>
      <p:sp>
        <p:nvSpPr>
          <p:cNvPr id="11" name="Rechteck 10">
            <a:extLst>
              <a:ext uri="{FF2B5EF4-FFF2-40B4-BE49-F238E27FC236}">
                <a16:creationId xmlns:a16="http://schemas.microsoft.com/office/drawing/2014/main" id="{53556713-A788-D2FD-57E3-143634AE0CE2}"/>
              </a:ext>
            </a:extLst>
          </p:cNvPr>
          <p:cNvSpPr/>
          <p:nvPr/>
        </p:nvSpPr>
        <p:spPr>
          <a:xfrm>
            <a:off x="684308" y="5137151"/>
            <a:ext cx="2700000" cy="1276348"/>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altLang="en-US" sz="1200" b="0" i="0" u="none" strike="noStrike" kern="1200" cap="none" spc="0" normalizeH="0" baseline="0" noProof="0" dirty="0">
                <a:ln>
                  <a:noFill/>
                </a:ln>
                <a:solidFill>
                  <a:srgbClr val="000000"/>
                </a:solidFill>
                <a:effectLst/>
                <a:uLnTx/>
                <a:uFillTx/>
                <a:latin typeface="Corbel"/>
                <a:ea typeface="+mn-ea"/>
                <a:cs typeface="+mn-cs"/>
              </a:rPr>
              <a:t>Wir führen eine umfassende Erhebung und Auswertung der bestehenden Heizsysteme durch und identifizieren die Potenziale und Chancen zur Verbesserung der Effizienz, Kosten und Umweltfreundlichkeit. </a:t>
            </a:r>
          </a:p>
        </p:txBody>
      </p:sp>
      <p:sp>
        <p:nvSpPr>
          <p:cNvPr id="12" name="Rechteck 11">
            <a:extLst>
              <a:ext uri="{FF2B5EF4-FFF2-40B4-BE49-F238E27FC236}">
                <a16:creationId xmlns:a16="http://schemas.microsoft.com/office/drawing/2014/main" id="{5A01A77E-BF62-8DAE-2F0A-6F26C0614821}"/>
              </a:ext>
            </a:extLst>
          </p:cNvPr>
          <p:cNvSpPr/>
          <p:nvPr/>
        </p:nvSpPr>
        <p:spPr>
          <a:xfrm>
            <a:off x="3457266" y="5137151"/>
            <a:ext cx="2700000" cy="1276348"/>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altLang="en-US" sz="1200" b="0" i="0" u="none" strike="noStrike" kern="1200" cap="none" spc="0" normalizeH="0" baseline="0" noProof="0" dirty="0">
                <a:ln>
                  <a:noFill/>
                </a:ln>
                <a:solidFill>
                  <a:srgbClr val="000000"/>
                </a:solidFill>
                <a:effectLst/>
                <a:uLnTx/>
                <a:uFillTx/>
                <a:latin typeface="Corbel"/>
                <a:ea typeface="+mn-ea"/>
                <a:cs typeface="+mn-cs"/>
              </a:rPr>
              <a:t>Wir erarbeiten eines realistischen Bildes für eine Wärmeversorgung, welche klimaneutral, effizient, bezahlbar ist.</a:t>
            </a:r>
          </a:p>
          <a:p>
            <a:pPr marL="0" marR="0" lvl="0" indent="0" algn="ctr" defTabSz="914400" rtl="0" eaLnBrk="1" fontAlgn="auto" latinLnBrk="0" hangingPunct="1">
              <a:lnSpc>
                <a:spcPct val="100000"/>
              </a:lnSpc>
              <a:spcBef>
                <a:spcPts val="0"/>
              </a:spcBef>
              <a:spcAft>
                <a:spcPct val="0"/>
              </a:spcAft>
              <a:buClrTx/>
              <a:buSzTx/>
              <a:buFontTx/>
              <a:buNone/>
              <a:tabLst/>
              <a:defRPr/>
            </a:pPr>
            <a:r>
              <a:rPr lang="de-DE" sz="1200" dirty="0">
                <a:solidFill>
                  <a:srgbClr val="000000"/>
                </a:solidFill>
                <a:latin typeface="Corbel"/>
              </a:rPr>
              <a:t>Dazu kommen konkrete Vorschläge im Rahmen eines Maßnahmenkatalogs, welche Schritte hierzu nötig sind.</a:t>
            </a:r>
            <a:endParaRPr kumimoji="0" lang="de-DE" sz="1200" b="0" i="0" u="none" strike="noStrike" kern="1200" cap="none" spc="0" normalizeH="0" baseline="0" noProof="0" dirty="0">
              <a:ln>
                <a:noFill/>
              </a:ln>
              <a:solidFill>
                <a:srgbClr val="000000"/>
              </a:solidFill>
              <a:effectLst/>
              <a:uLnTx/>
              <a:uFillTx/>
              <a:latin typeface="Corbel"/>
              <a:ea typeface="+mn-ea"/>
              <a:cs typeface="+mn-cs"/>
            </a:endParaRPr>
          </a:p>
        </p:txBody>
      </p:sp>
      <p:sp>
        <p:nvSpPr>
          <p:cNvPr id="13" name="Rechteck 12">
            <a:extLst>
              <a:ext uri="{FF2B5EF4-FFF2-40B4-BE49-F238E27FC236}">
                <a16:creationId xmlns:a16="http://schemas.microsoft.com/office/drawing/2014/main" id="{E97D1521-745E-FC4A-C6CA-C74510B11FA0}"/>
              </a:ext>
            </a:extLst>
          </p:cNvPr>
          <p:cNvSpPr/>
          <p:nvPr/>
        </p:nvSpPr>
        <p:spPr>
          <a:xfrm>
            <a:off x="284685" y="5137150"/>
            <a:ext cx="324197" cy="1276350"/>
          </a:xfrm>
          <a:prstGeom prst="rect">
            <a:avLst/>
          </a:prstGeom>
          <a:solidFill>
            <a:srgbClr val="D2D3D5"/>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i="0" u="none" strike="noStrike" kern="1200" cap="none" spc="0" normalizeH="0" baseline="0" noProof="0" dirty="0">
                <a:ln>
                  <a:noFill/>
                </a:ln>
                <a:solidFill>
                  <a:srgbClr val="5F5E5E"/>
                </a:solidFill>
                <a:effectLst/>
                <a:uLnTx/>
                <a:uFillTx/>
                <a:latin typeface="Corbel"/>
                <a:ea typeface="+mn-ea"/>
                <a:cs typeface="Segoe UI" panose="020B0502040204020203" pitchFamily="34" charset="0"/>
              </a:rPr>
              <a:t>Kurzbeschreibung</a:t>
            </a:r>
            <a:endParaRPr kumimoji="0" lang="de-DE" sz="1100" i="0" u="none" strike="noStrike" kern="1200" cap="none" spc="0" normalizeH="0" baseline="0" noProof="0" dirty="0">
              <a:ln>
                <a:noFill/>
              </a:ln>
              <a:solidFill>
                <a:srgbClr val="5F5E5E"/>
              </a:solidFill>
              <a:effectLst/>
              <a:uLnTx/>
              <a:uFillTx/>
              <a:latin typeface="Corbel"/>
              <a:ea typeface="+mn-ea"/>
              <a:cs typeface="Segoe UI" panose="020B0502040204020203" pitchFamily="34" charset="0"/>
            </a:endParaRPr>
          </a:p>
        </p:txBody>
      </p:sp>
      <p:sp>
        <p:nvSpPr>
          <p:cNvPr id="14" name="Rechteck 13">
            <a:extLst>
              <a:ext uri="{FF2B5EF4-FFF2-40B4-BE49-F238E27FC236}">
                <a16:creationId xmlns:a16="http://schemas.microsoft.com/office/drawing/2014/main" id="{ADFCC687-ACEE-F45D-6A73-A5183782811A}"/>
              </a:ext>
            </a:extLst>
          </p:cNvPr>
          <p:cNvSpPr/>
          <p:nvPr/>
        </p:nvSpPr>
        <p:spPr>
          <a:xfrm>
            <a:off x="684308" y="3987766"/>
            <a:ext cx="2700000" cy="1111250"/>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altLang="en-US" sz="1600" b="1" i="0" u="none" strike="noStrike" kern="1200" cap="none" spc="0" normalizeH="0" baseline="0" noProof="0" dirty="0">
                <a:ln>
                  <a:noFill/>
                </a:ln>
                <a:solidFill>
                  <a:srgbClr val="000000"/>
                </a:solidFill>
                <a:effectLst/>
                <a:uLnTx/>
                <a:uFillTx/>
                <a:latin typeface="Corbel"/>
                <a:ea typeface="+mn-ea"/>
                <a:cs typeface="+mn-cs"/>
              </a:rPr>
              <a:t>Bestand- und Potenzialanalyse</a:t>
            </a:r>
          </a:p>
          <a:p>
            <a:pPr marL="0" marR="0" lvl="0" indent="0" algn="ctr" defTabSz="914400" rtl="0" eaLnBrk="1" fontAlgn="auto" latinLnBrk="0" hangingPunct="1">
              <a:lnSpc>
                <a:spcPct val="100000"/>
              </a:lnSpc>
              <a:spcBef>
                <a:spcPts val="0"/>
              </a:spcBef>
              <a:spcAft>
                <a:spcPct val="0"/>
              </a:spcAft>
              <a:buClrTx/>
              <a:buSzTx/>
              <a:buFontTx/>
              <a:buNone/>
              <a:tabLst/>
              <a:defRPr/>
            </a:pPr>
            <a:r>
              <a:rPr lang="de-DE" altLang="en-US" sz="1600" b="1" dirty="0">
                <a:solidFill>
                  <a:srgbClr val="000000"/>
                </a:solidFill>
                <a:latin typeface="Corbel"/>
              </a:rPr>
              <a:t>(A)</a:t>
            </a:r>
            <a:endParaRPr kumimoji="0" lang="de-DE" altLang="en-US" sz="1600" b="1" i="0" u="none" strike="noStrike" kern="1200" cap="none" spc="0" normalizeH="0" baseline="0" noProof="0" dirty="0">
              <a:ln>
                <a:noFill/>
              </a:ln>
              <a:solidFill>
                <a:srgbClr val="000000"/>
              </a:solidFill>
              <a:effectLst/>
              <a:uLnTx/>
              <a:uFillTx/>
              <a:latin typeface="Corbel"/>
              <a:ea typeface="+mn-ea"/>
              <a:cs typeface="+mn-cs"/>
            </a:endParaRPr>
          </a:p>
        </p:txBody>
      </p:sp>
      <p:sp>
        <p:nvSpPr>
          <p:cNvPr id="15" name="Rechteck 14">
            <a:extLst>
              <a:ext uri="{FF2B5EF4-FFF2-40B4-BE49-F238E27FC236}">
                <a16:creationId xmlns:a16="http://schemas.microsoft.com/office/drawing/2014/main" id="{243D296E-FB20-1073-AB9C-898C9683150D}"/>
              </a:ext>
            </a:extLst>
          </p:cNvPr>
          <p:cNvSpPr/>
          <p:nvPr/>
        </p:nvSpPr>
        <p:spPr>
          <a:xfrm>
            <a:off x="3457266" y="3987766"/>
            <a:ext cx="2700000" cy="1111250"/>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altLang="en-US" sz="1600" b="1" i="0" u="none" strike="noStrike" kern="1200" cap="none" spc="0" normalizeH="0" baseline="0" noProof="0" dirty="0">
                <a:ln>
                  <a:noFill/>
                </a:ln>
                <a:solidFill>
                  <a:srgbClr val="000000"/>
                </a:solidFill>
                <a:effectLst/>
                <a:uLnTx/>
                <a:uFillTx/>
                <a:latin typeface="Corbel"/>
                <a:ea typeface="+mn-ea"/>
                <a:cs typeface="+mn-cs"/>
              </a:rPr>
              <a:t>Zielszenarien und Strategieentwicklung</a:t>
            </a:r>
          </a:p>
          <a:p>
            <a:pPr marL="0" marR="0" lvl="0" indent="0" algn="ctr" defTabSz="914400" rtl="0" eaLnBrk="1" fontAlgn="auto" latinLnBrk="0" hangingPunct="1">
              <a:lnSpc>
                <a:spcPct val="100000"/>
              </a:lnSpc>
              <a:spcBef>
                <a:spcPts val="0"/>
              </a:spcBef>
              <a:spcAft>
                <a:spcPct val="0"/>
              </a:spcAft>
              <a:buClrTx/>
              <a:buSzTx/>
              <a:buFontTx/>
              <a:buNone/>
              <a:tabLst/>
              <a:defRPr/>
            </a:pPr>
            <a:r>
              <a:rPr kumimoji="0" lang="de-DE" sz="1600" b="1" i="0" u="none" strike="noStrike" kern="1200" cap="none" spc="0" normalizeH="0" baseline="0" noProof="0" dirty="0">
                <a:ln>
                  <a:noFill/>
                </a:ln>
                <a:solidFill>
                  <a:srgbClr val="000000"/>
                </a:solidFill>
                <a:effectLst/>
                <a:uLnTx/>
                <a:uFillTx/>
                <a:latin typeface="Corbel"/>
                <a:ea typeface="+mn-ea"/>
                <a:cs typeface="+mn-cs"/>
              </a:rPr>
              <a:t>(B)</a:t>
            </a:r>
          </a:p>
        </p:txBody>
      </p:sp>
    </p:spTree>
    <p:extLst>
      <p:ext uri="{BB962C8B-B14F-4D97-AF65-F5344CB8AC3E}">
        <p14:creationId xmlns:p14="http://schemas.microsoft.com/office/powerpoint/2010/main" val="5309635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53C9F10-D81B-CB8A-5107-761F90585341}"/>
              </a:ext>
            </a:extLst>
          </p:cNvPr>
          <p:cNvGraphicFramePr>
            <a:graphicFrameLocks noChangeAspect="1"/>
          </p:cNvGraphicFramePr>
          <p:nvPr>
            <p:custDataLst>
              <p:tags r:id="rId1"/>
            </p:custDataLst>
            <p:extLst>
              <p:ext uri="{D42A27DB-BD31-4B8C-83A1-F6EECF244321}">
                <p14:modId xmlns:p14="http://schemas.microsoft.com/office/powerpoint/2010/main" val="888472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5" name="think-cell data - do not delete" hidden="1">
                        <a:extLst>
                          <a:ext uri="{FF2B5EF4-FFF2-40B4-BE49-F238E27FC236}">
                            <a16:creationId xmlns:a16="http://schemas.microsoft.com/office/drawing/2014/main" id="{753C9F10-D81B-CB8A-5107-761F905853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8956A9D-DD7B-C71C-A4E3-27219B48D958}"/>
              </a:ext>
            </a:extLst>
          </p:cNvPr>
          <p:cNvSpPr>
            <a:spLocks noGrp="1"/>
          </p:cNvSpPr>
          <p:nvPr>
            <p:ph type="title"/>
          </p:nvPr>
        </p:nvSpPr>
        <p:spPr/>
        <p:txBody>
          <a:bodyPr vert="horz"/>
          <a:lstStyle/>
          <a:p>
            <a:r>
              <a:rPr lang="de-DE" dirty="0"/>
              <a:t>Teilprojekt A: Bestands- und Potentialanalyse</a:t>
            </a:r>
          </a:p>
        </p:txBody>
      </p:sp>
      <p:sp>
        <p:nvSpPr>
          <p:cNvPr id="4" name="Fußzeilenplatzhalter 3">
            <a:extLst>
              <a:ext uri="{FF2B5EF4-FFF2-40B4-BE49-F238E27FC236}">
                <a16:creationId xmlns:a16="http://schemas.microsoft.com/office/drawing/2014/main" id="{C0C801CD-BE09-D62A-0977-4BF014CD5E35}"/>
              </a:ext>
            </a:extLst>
          </p:cNvPr>
          <p:cNvSpPr>
            <a:spLocks noGrp="1"/>
          </p:cNvSpPr>
          <p:nvPr>
            <p:ph type="ftr" sz="quarter" idx="12"/>
          </p:nvPr>
        </p:nvSpPr>
        <p:spPr/>
        <p:txBody>
          <a:bodyPr/>
          <a:lstStyle/>
          <a:p>
            <a:r>
              <a:rPr lang="de-DE"/>
              <a:t>Kommunale Wärmeplanung Verbandsgemeinde Unkel</a:t>
            </a:r>
          </a:p>
        </p:txBody>
      </p:sp>
      <p:sp>
        <p:nvSpPr>
          <p:cNvPr id="8" name="Inhaltsplatzhalter 7">
            <a:extLst>
              <a:ext uri="{FF2B5EF4-FFF2-40B4-BE49-F238E27FC236}">
                <a16:creationId xmlns:a16="http://schemas.microsoft.com/office/drawing/2014/main" id="{CEA5AD0B-7BF5-F066-AD92-B5641821DCD0}"/>
              </a:ext>
            </a:extLst>
          </p:cNvPr>
          <p:cNvSpPr>
            <a:spLocks noGrp="1"/>
          </p:cNvSpPr>
          <p:nvPr>
            <p:ph sz="quarter" idx="10"/>
          </p:nvPr>
        </p:nvSpPr>
        <p:spPr>
          <a:xfrm>
            <a:off x="414196" y="1328736"/>
            <a:ext cx="5543997" cy="2633664"/>
          </a:xfrm>
        </p:spPr>
        <p:txBody>
          <a:bodyPr/>
          <a:lstStyle/>
          <a:p>
            <a:pPr marL="0" indent="0">
              <a:buNone/>
            </a:pPr>
            <a:r>
              <a:rPr lang="de-DE" sz="1600" b="1" dirty="0"/>
              <a:t>Wärmebedarfsermittlung und -prognose</a:t>
            </a:r>
          </a:p>
          <a:p>
            <a:r>
              <a:rPr lang="de-DE" sz="1600" dirty="0"/>
              <a:t>Wir ermitteln auf Grundlage von anonymisierten Wärme- und Gasverbrauchsdaten den Wärmebedarf </a:t>
            </a:r>
          </a:p>
          <a:p>
            <a:r>
              <a:rPr lang="de-DE" sz="1600" dirty="0"/>
              <a:t>Wir verschaffen uns einen Überblick über die Erzeugungsstruktur in den Kommunen</a:t>
            </a:r>
          </a:p>
          <a:p>
            <a:r>
              <a:rPr lang="de-DE" sz="1600" dirty="0"/>
              <a:t>Wir schreiben den Wärmebedarf bis ins Jahr 2045 fort</a:t>
            </a:r>
          </a:p>
          <a:p>
            <a:r>
              <a:rPr lang="de-DE" sz="1600" dirty="0"/>
              <a:t>Wir ermitteln die Treibhausgasemissionen des Gebäudesektors und andere Kennzahlen</a:t>
            </a:r>
          </a:p>
          <a:p>
            <a:pPr marL="0" indent="0">
              <a:buNone/>
            </a:pPr>
            <a:endParaRPr lang="de-DE" sz="1600" dirty="0"/>
          </a:p>
        </p:txBody>
      </p:sp>
      <p:sp>
        <p:nvSpPr>
          <p:cNvPr id="10" name="Inhaltsplatzhalter 7">
            <a:extLst>
              <a:ext uri="{FF2B5EF4-FFF2-40B4-BE49-F238E27FC236}">
                <a16:creationId xmlns:a16="http://schemas.microsoft.com/office/drawing/2014/main" id="{2DFF98B5-96A0-EB5A-1128-CEBC0A4E07CA}"/>
              </a:ext>
            </a:extLst>
          </p:cNvPr>
          <p:cNvSpPr txBox="1">
            <a:spLocks/>
          </p:cNvSpPr>
          <p:nvPr/>
        </p:nvSpPr>
        <p:spPr bwMode="gray">
          <a:xfrm>
            <a:off x="6233808" y="1236836"/>
            <a:ext cx="5543997" cy="2820814"/>
          </a:xfrm>
          <a:prstGeom prst="rect">
            <a:avLst/>
          </a:prstGeom>
        </p:spPr>
        <p:txBody>
          <a:bodyPr vert="horz" lIns="0" tIns="18000" rIns="0" bIns="0" rtlCol="0">
            <a:noAutofit/>
          </a:bodyPr>
          <a:lstStyle>
            <a:lvl1pPr marL="176213" marR="0" indent="-176213" algn="l" defTabSz="914400" rtl="0" eaLnBrk="1" fontAlgn="base" latinLnBrk="0" hangingPunct="1">
              <a:lnSpc>
                <a:spcPct val="100000"/>
              </a:lnSpc>
              <a:spcBef>
                <a:spcPct val="0"/>
              </a:spcBef>
              <a:spcAft>
                <a:spcPts val="1200"/>
              </a:spcAft>
              <a:buClr>
                <a:schemeClr val="tx2"/>
              </a:buClr>
              <a:buSzPct val="75000"/>
              <a:buFont typeface="Wingdings 3" panose="05040102010807070707" pitchFamily="18" charset="2"/>
              <a:buChar char="}"/>
              <a:tabLst/>
              <a:defRPr sz="1800" kern="1200" baseline="0">
                <a:solidFill>
                  <a:schemeClr val="tx1"/>
                </a:solidFill>
                <a:latin typeface="+mn-lt"/>
                <a:ea typeface="+mn-ea"/>
                <a:cs typeface="+mn-cs"/>
              </a:defRPr>
            </a:lvl1pPr>
            <a:lvl2pPr marL="360363" marR="0" indent="-184150" algn="l" defTabSz="914400" rtl="0" eaLnBrk="1" fontAlgn="base" latinLnBrk="0" hangingPunct="1">
              <a:lnSpc>
                <a:spcPct val="100000"/>
              </a:lnSpc>
              <a:spcBef>
                <a:spcPts val="0"/>
              </a:spcBef>
              <a:spcAft>
                <a:spcPts val="600"/>
              </a:spcAft>
              <a:buClr>
                <a:schemeClr val="tx2"/>
              </a:buClr>
              <a:buSzPct val="75000"/>
              <a:buFont typeface="Wingdings" panose="05000000000000000000" pitchFamily="2" charset="2"/>
              <a:buChar char="§"/>
              <a:tabLst/>
              <a:defRPr sz="1600" kern="1200">
                <a:solidFill>
                  <a:schemeClr val="tx1"/>
                </a:solidFill>
                <a:latin typeface="+mn-lt"/>
                <a:ea typeface="+mn-ea"/>
                <a:cs typeface="+mn-cs"/>
              </a:defRPr>
            </a:lvl2pPr>
            <a:lvl3pPr marL="534988" marR="0" indent="-174625" algn="l" defTabSz="914400" rtl="0" eaLnBrk="1" fontAlgn="base" latinLnBrk="0" hangingPunct="1">
              <a:lnSpc>
                <a:spcPct val="100000"/>
              </a:lnSpc>
              <a:spcBef>
                <a:spcPts val="0"/>
              </a:spcBef>
              <a:spcAft>
                <a:spcPts val="600"/>
              </a:spcAft>
              <a:buClr>
                <a:schemeClr val="tx2"/>
              </a:buClr>
              <a:buSzPct val="75000"/>
              <a:buFont typeface="Symbol" panose="05050102010706020507" pitchFamily="18" charset="2"/>
              <a:buChar char="-"/>
              <a:tabLst/>
              <a:defRPr sz="1400" kern="1200">
                <a:solidFill>
                  <a:schemeClr val="tx1"/>
                </a:solidFill>
                <a:latin typeface="+mn-lt"/>
                <a:ea typeface="+mn-ea"/>
                <a:cs typeface="+mn-cs"/>
              </a:defRPr>
            </a:lvl3pPr>
            <a:lvl4pPr marL="720725" marR="0" indent="-185738" algn="l" defTabSz="914400" rtl="0" eaLnBrk="1" fontAlgn="base" latinLnBrk="0" hangingPunct="1">
              <a:lnSpc>
                <a:spcPct val="100000"/>
              </a:lnSpc>
              <a:spcBef>
                <a:spcPts val="0"/>
              </a:spcBef>
              <a:spcAft>
                <a:spcPts val="600"/>
              </a:spcAft>
              <a:buClr>
                <a:schemeClr val="tx2"/>
              </a:buClr>
              <a:buSzPct val="75000"/>
              <a:buFont typeface="Arial" panose="020B0604020202020204" pitchFamily="34" charset="0"/>
              <a:buChar char="•"/>
              <a:tabLst/>
              <a:defRPr sz="1200" kern="1200">
                <a:solidFill>
                  <a:schemeClr val="tx1"/>
                </a:solidFill>
                <a:latin typeface="+mn-lt"/>
                <a:ea typeface="+mn-ea"/>
                <a:cs typeface="+mn-cs"/>
              </a:defRPr>
            </a:lvl4pPr>
            <a:lvl5pPr marL="895350" marR="0" indent="-174625" algn="l" defTabSz="914400" rtl="0" eaLnBrk="1" fontAlgn="base" latinLnBrk="0" hangingPunct="1">
              <a:lnSpc>
                <a:spcPct val="100000"/>
              </a:lnSpc>
              <a:spcBef>
                <a:spcPts val="0"/>
              </a:spcBef>
              <a:spcAft>
                <a:spcPts val="600"/>
              </a:spcAft>
              <a:buClr>
                <a:schemeClr val="tx2"/>
              </a:buClr>
              <a:buSzPct val="75000"/>
              <a:buFont typeface="Corbel" panose="020B0503020204020204" pitchFamily="34" charset="0"/>
              <a:buChar char="»"/>
              <a:tabLst/>
              <a:defRPr sz="1000" kern="1200">
                <a:solidFill>
                  <a:schemeClr val="tx1"/>
                </a:solidFill>
                <a:latin typeface="+mn-lt"/>
                <a:ea typeface="+mn-ea"/>
                <a:cs typeface="+mn-cs"/>
              </a:defRPr>
            </a:lvl5pPr>
            <a:lvl6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6pPr>
            <a:lvl7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7pPr>
            <a:lvl8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8pPr>
            <a:lvl9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9pPr>
          </a:lstStyle>
          <a:p>
            <a:pPr marL="0" indent="0">
              <a:buNone/>
            </a:pPr>
            <a:r>
              <a:rPr lang="de-DE" sz="1600" b="1" dirty="0"/>
              <a:t>Potentialanalyse</a:t>
            </a:r>
          </a:p>
          <a:p>
            <a:r>
              <a:rPr lang="de-DE" sz="1600" dirty="0"/>
              <a:t>Wir führen eine Flächenanalyse durch, um die Eignung für die Erzeugung erneuerbarer Wärme zu prüfen</a:t>
            </a:r>
          </a:p>
          <a:p>
            <a:r>
              <a:rPr lang="de-DE" sz="1600" dirty="0"/>
              <a:t>Wir sprechen Firmen an, welche potenziell für eine erneuerbare Wärmeerzeugung infrage kommen</a:t>
            </a:r>
          </a:p>
          <a:p>
            <a:r>
              <a:rPr lang="de-DE" sz="1600" dirty="0"/>
              <a:t>Wir nutzen und plausibilisieren Daten aus bestehenden Datenbanken (insbesondere hier der Energieatlas Rheinland-Pfalz) und vorliegende Studien, sowie weitere öffentlich oder nicht-öffentlich vorliegende Datenquellen</a:t>
            </a:r>
          </a:p>
        </p:txBody>
      </p:sp>
      <p:pic>
        <p:nvPicPr>
          <p:cNvPr id="14" name="Grafik 13">
            <a:extLst>
              <a:ext uri="{FF2B5EF4-FFF2-40B4-BE49-F238E27FC236}">
                <a16:creationId xmlns:a16="http://schemas.microsoft.com/office/drawing/2014/main" id="{E3CFFEA1-35E4-C808-41D8-E30264E53388}"/>
              </a:ext>
            </a:extLst>
          </p:cNvPr>
          <p:cNvPicPr>
            <a:picLocks noChangeAspect="1"/>
          </p:cNvPicPr>
          <p:nvPr/>
        </p:nvPicPr>
        <p:blipFill>
          <a:blip r:embed="rId6"/>
          <a:srcRect t="3680"/>
          <a:stretch/>
        </p:blipFill>
        <p:spPr>
          <a:xfrm>
            <a:off x="347516" y="4433887"/>
            <a:ext cx="5788959" cy="1712563"/>
          </a:xfrm>
          <a:prstGeom prst="rect">
            <a:avLst/>
          </a:prstGeom>
        </p:spPr>
      </p:pic>
      <p:sp>
        <p:nvSpPr>
          <p:cNvPr id="15" name="Rechteck 14">
            <a:extLst>
              <a:ext uri="{FF2B5EF4-FFF2-40B4-BE49-F238E27FC236}">
                <a16:creationId xmlns:a16="http://schemas.microsoft.com/office/drawing/2014/main" id="{4C90F61D-AFEA-E69E-19B9-53A2244A2E41}"/>
              </a:ext>
            </a:extLst>
          </p:cNvPr>
          <p:cNvSpPr/>
          <p:nvPr/>
        </p:nvSpPr>
        <p:spPr>
          <a:xfrm>
            <a:off x="403378" y="6075848"/>
            <a:ext cx="4027329" cy="2736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00" dirty="0">
                <a:solidFill>
                  <a:schemeClr val="tx1"/>
                </a:solidFill>
              </a:rPr>
              <a:t>Quelle: </a:t>
            </a:r>
            <a:r>
              <a:rPr lang="de-DE" sz="1000" dirty="0" err="1">
                <a:solidFill>
                  <a:schemeClr val="tx1"/>
                </a:solidFill>
              </a:rPr>
              <a:t>ifeu</a:t>
            </a:r>
            <a:r>
              <a:rPr lang="de-DE" sz="1000" dirty="0">
                <a:solidFill>
                  <a:schemeClr val="tx1"/>
                </a:solidFill>
              </a:rPr>
              <a:t> et al. 2024, Leitfaden Wärmeplanung im Auftrag des BMWK</a:t>
            </a:r>
          </a:p>
        </p:txBody>
      </p:sp>
      <p:pic>
        <p:nvPicPr>
          <p:cNvPr id="17" name="Grafik 16">
            <a:extLst>
              <a:ext uri="{FF2B5EF4-FFF2-40B4-BE49-F238E27FC236}">
                <a16:creationId xmlns:a16="http://schemas.microsoft.com/office/drawing/2014/main" id="{92B801C3-0315-9837-4219-E841EEF7138B}"/>
              </a:ext>
            </a:extLst>
          </p:cNvPr>
          <p:cNvPicPr>
            <a:picLocks noChangeAspect="1"/>
          </p:cNvPicPr>
          <p:nvPr/>
        </p:nvPicPr>
        <p:blipFill>
          <a:blip r:embed="rId7"/>
          <a:stretch>
            <a:fillRect/>
          </a:stretch>
        </p:blipFill>
        <p:spPr>
          <a:xfrm>
            <a:off x="6232570" y="4407947"/>
            <a:ext cx="5545235" cy="1237959"/>
          </a:xfrm>
          <a:prstGeom prst="rect">
            <a:avLst/>
          </a:prstGeom>
        </p:spPr>
      </p:pic>
      <p:pic>
        <p:nvPicPr>
          <p:cNvPr id="19" name="Grafik 18">
            <a:extLst>
              <a:ext uri="{FF2B5EF4-FFF2-40B4-BE49-F238E27FC236}">
                <a16:creationId xmlns:a16="http://schemas.microsoft.com/office/drawing/2014/main" id="{8EA6C863-8521-F4C3-98F6-375B8D06E1CD}"/>
              </a:ext>
            </a:extLst>
          </p:cNvPr>
          <p:cNvPicPr>
            <a:picLocks noChangeAspect="1"/>
          </p:cNvPicPr>
          <p:nvPr/>
        </p:nvPicPr>
        <p:blipFill>
          <a:blip r:embed="rId8"/>
          <a:stretch>
            <a:fillRect/>
          </a:stretch>
        </p:blipFill>
        <p:spPr>
          <a:xfrm>
            <a:off x="10311134" y="4435196"/>
            <a:ext cx="1562766" cy="1664008"/>
          </a:xfrm>
          <a:prstGeom prst="rect">
            <a:avLst/>
          </a:prstGeom>
          <a:effectLst>
            <a:outerShdw blurRad="63500" sx="102000" sy="102000" algn="ctr" rotWithShape="0">
              <a:prstClr val="black">
                <a:alpha val="40000"/>
              </a:prstClr>
            </a:outerShdw>
          </a:effectLst>
        </p:spPr>
      </p:pic>
      <p:sp>
        <p:nvSpPr>
          <p:cNvPr id="20" name="Rechteck 19">
            <a:extLst>
              <a:ext uri="{FF2B5EF4-FFF2-40B4-BE49-F238E27FC236}">
                <a16:creationId xmlns:a16="http://schemas.microsoft.com/office/drawing/2014/main" id="{0E9B77EF-1C96-F8FA-CB71-8B62EAF46E71}"/>
              </a:ext>
            </a:extLst>
          </p:cNvPr>
          <p:cNvSpPr/>
          <p:nvPr/>
        </p:nvSpPr>
        <p:spPr>
          <a:xfrm>
            <a:off x="6258188" y="5650807"/>
            <a:ext cx="4027329" cy="2736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00" dirty="0">
                <a:solidFill>
                  <a:schemeClr val="tx1"/>
                </a:solidFill>
              </a:rPr>
              <a:t>Quelle: </a:t>
            </a:r>
            <a:r>
              <a:rPr lang="de-DE" sz="1000" dirty="0" err="1">
                <a:solidFill>
                  <a:schemeClr val="tx1"/>
                </a:solidFill>
              </a:rPr>
              <a:t>ifeu</a:t>
            </a:r>
            <a:r>
              <a:rPr lang="de-DE" sz="1000" dirty="0">
                <a:solidFill>
                  <a:schemeClr val="tx1"/>
                </a:solidFill>
              </a:rPr>
              <a:t> et al. 2024, Leitfaden Wärmeplanung im Auftrag des BMWK</a:t>
            </a:r>
          </a:p>
        </p:txBody>
      </p:sp>
    </p:spTree>
    <p:extLst>
      <p:ext uri="{BB962C8B-B14F-4D97-AF65-F5344CB8AC3E}">
        <p14:creationId xmlns:p14="http://schemas.microsoft.com/office/powerpoint/2010/main" val="634947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D92E16C-92DC-98AA-5847-4F3E4B3EE354}"/>
              </a:ext>
            </a:extLst>
          </p:cNvPr>
          <p:cNvGraphicFramePr>
            <a:graphicFrameLocks noChangeAspect="1"/>
          </p:cNvGraphicFramePr>
          <p:nvPr>
            <p:custDataLst>
              <p:tags r:id="rId1"/>
            </p:custDataLst>
            <p:extLst>
              <p:ext uri="{D42A27DB-BD31-4B8C-83A1-F6EECF244321}">
                <p14:modId xmlns:p14="http://schemas.microsoft.com/office/powerpoint/2010/main" val="4015287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6" name="think-cell data - do not delete" hidden="1">
                        <a:extLst>
                          <a:ext uri="{FF2B5EF4-FFF2-40B4-BE49-F238E27FC236}">
                            <a16:creationId xmlns:a16="http://schemas.microsoft.com/office/drawing/2014/main" id="{1D92E16C-92DC-98AA-5847-4F3E4B3EE3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1120FE5-941D-BF74-327B-260C1264BA21}"/>
              </a:ext>
            </a:extLst>
          </p:cNvPr>
          <p:cNvSpPr>
            <a:spLocks noGrp="1"/>
          </p:cNvSpPr>
          <p:nvPr>
            <p:ph type="title"/>
          </p:nvPr>
        </p:nvSpPr>
        <p:spPr/>
        <p:txBody>
          <a:bodyPr vert="horz"/>
          <a:lstStyle/>
          <a:p>
            <a:r>
              <a:rPr lang="de-DE" dirty="0"/>
              <a:t>Teilprojekt B: Zielszenarien und Strategieentwicklung</a:t>
            </a:r>
          </a:p>
        </p:txBody>
      </p:sp>
      <p:sp>
        <p:nvSpPr>
          <p:cNvPr id="4" name="Fußzeilenplatzhalter 3">
            <a:extLst>
              <a:ext uri="{FF2B5EF4-FFF2-40B4-BE49-F238E27FC236}">
                <a16:creationId xmlns:a16="http://schemas.microsoft.com/office/drawing/2014/main" id="{119FBAB9-659F-96B2-22A3-58CFBB09D84C}"/>
              </a:ext>
            </a:extLst>
          </p:cNvPr>
          <p:cNvSpPr>
            <a:spLocks noGrp="1"/>
          </p:cNvSpPr>
          <p:nvPr>
            <p:ph type="ftr" sz="quarter" idx="12"/>
          </p:nvPr>
        </p:nvSpPr>
        <p:spPr>
          <a:xfrm>
            <a:off x="1043758" y="6558987"/>
            <a:ext cx="5880918" cy="138499"/>
          </a:xfrm>
        </p:spPr>
        <p:txBody>
          <a:bodyPr/>
          <a:lstStyle/>
          <a:p>
            <a:r>
              <a:rPr lang="de-DE"/>
              <a:t>Kommunale Wärmeplanung Verbandsgemeinde Unkel</a:t>
            </a:r>
          </a:p>
        </p:txBody>
      </p:sp>
      <p:sp>
        <p:nvSpPr>
          <p:cNvPr id="12" name="Inhaltsplatzhalter 11">
            <a:extLst>
              <a:ext uri="{FF2B5EF4-FFF2-40B4-BE49-F238E27FC236}">
                <a16:creationId xmlns:a16="http://schemas.microsoft.com/office/drawing/2014/main" id="{ACA58F84-05E8-8117-8BA4-9F0430FCB9EF}"/>
              </a:ext>
            </a:extLst>
          </p:cNvPr>
          <p:cNvSpPr>
            <a:spLocks noGrp="1"/>
          </p:cNvSpPr>
          <p:nvPr>
            <p:ph sz="quarter" idx="10"/>
          </p:nvPr>
        </p:nvSpPr>
        <p:spPr>
          <a:xfrm>
            <a:off x="3184186" y="1699201"/>
            <a:ext cx="8151779" cy="4578382"/>
          </a:xfrm>
        </p:spPr>
        <p:txBody>
          <a:bodyPr/>
          <a:lstStyle/>
          <a:p>
            <a:r>
              <a:rPr lang="de-DE" dirty="0"/>
              <a:t>Zunächst treffen wir Annahmen wie beispielsweise die zukünftigen Kosten von Energieerzeugungsanlagen, Energieträgern oder auch dem Tiefbau</a:t>
            </a:r>
          </a:p>
          <a:p>
            <a:r>
              <a:rPr lang="de-DE" dirty="0"/>
              <a:t>Daraufhin entwickeln wir ein Zielszenario, welches ein </a:t>
            </a:r>
            <a:r>
              <a:rPr kumimoji="0" lang="de-DE" altLang="en-US" sz="1800" b="0" i="0" u="none" strike="noStrike" kern="1200" cap="none" spc="0" normalizeH="0" baseline="0" noProof="0" dirty="0">
                <a:ln>
                  <a:noFill/>
                </a:ln>
                <a:solidFill>
                  <a:srgbClr val="000000"/>
                </a:solidFill>
                <a:effectLst/>
                <a:uLnTx/>
                <a:uFillTx/>
                <a:latin typeface="Corbel"/>
                <a:ea typeface="+mn-ea"/>
                <a:cs typeface="+mn-cs"/>
              </a:rPr>
              <a:t>klimaneutrales, effizientes und vor allem auch für alle Beteiligten bezahlbares Bild zeichnet</a:t>
            </a:r>
          </a:p>
          <a:p>
            <a:r>
              <a:rPr lang="de-DE" dirty="0">
                <a:solidFill>
                  <a:srgbClr val="000000"/>
                </a:solidFill>
                <a:latin typeface="Corbel"/>
                <a:sym typeface="Wingdings" panose="05000000000000000000" pitchFamily="2" charset="2"/>
              </a:rPr>
              <a:t>Auf Basis aller vorangegangener Daten, Informationen und Rückmeldungen geben wir eine Einschätzung zur zukünftigen Wärmeversorgung in den Teilgebieten ab</a:t>
            </a:r>
          </a:p>
          <a:p>
            <a:r>
              <a:rPr lang="de-DE" dirty="0">
                <a:solidFill>
                  <a:srgbClr val="000000"/>
                </a:solidFill>
                <a:latin typeface="Corbel"/>
                <a:sym typeface="Wingdings" panose="05000000000000000000" pitchFamily="2" charset="2"/>
              </a:rPr>
              <a:t>Wir führen die Gebietseinteilung durch, </a:t>
            </a:r>
            <a:r>
              <a:rPr lang="de-DE" sz="1800" dirty="0">
                <a:sym typeface="Wingdings" panose="05000000000000000000" pitchFamily="2" charset="2"/>
              </a:rPr>
              <a:t>Einschätzung der Eignung der einzelnen Teilgebiete für leitungsgebundene Wärme und Einzelversorgung (nach WPG)</a:t>
            </a:r>
          </a:p>
          <a:p>
            <a:r>
              <a:rPr lang="de-DE" sz="1800" dirty="0">
                <a:sym typeface="Wingdings" panose="05000000000000000000" pitchFamily="2" charset="2"/>
              </a:rPr>
              <a:t>Wir ermitteln </a:t>
            </a:r>
            <a:r>
              <a:rPr lang="de-DE" dirty="0">
                <a:sym typeface="Wingdings" panose="05000000000000000000" pitchFamily="2" charset="2"/>
              </a:rPr>
              <a:t>Fokusgebiete, in welchen eine Umsetzung von Maßnahmen zeitnah erfolgen soll </a:t>
            </a:r>
            <a:endParaRPr lang="de-DE" dirty="0"/>
          </a:p>
          <a:p>
            <a:r>
              <a:rPr lang="de-DE" sz="1800" dirty="0">
                <a:sym typeface="Wingdings" panose="05000000000000000000" pitchFamily="2" charset="2"/>
              </a:rPr>
              <a:t>Wir entwickeln kurz-, mittel- und langfristige Maßnahmen zur Umsetzung der kommunalen Wärmewende und stellen diese in einem Maßnahmenkatalog dar</a:t>
            </a:r>
          </a:p>
        </p:txBody>
      </p:sp>
      <p:sp>
        <p:nvSpPr>
          <p:cNvPr id="13" name="Rechteck: abgerundete Ecken 12">
            <a:extLst>
              <a:ext uri="{FF2B5EF4-FFF2-40B4-BE49-F238E27FC236}">
                <a16:creationId xmlns:a16="http://schemas.microsoft.com/office/drawing/2014/main" id="{B6932A24-B021-CB42-C119-1DDA7E6AB3F0}"/>
              </a:ext>
            </a:extLst>
          </p:cNvPr>
          <p:cNvSpPr/>
          <p:nvPr/>
        </p:nvSpPr>
        <p:spPr>
          <a:xfrm>
            <a:off x="350627" y="1756545"/>
            <a:ext cx="2548216" cy="512221"/>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Energiewirtschaftliche Annahmen</a:t>
            </a:r>
          </a:p>
        </p:txBody>
      </p:sp>
      <p:sp>
        <p:nvSpPr>
          <p:cNvPr id="14" name="Rechteck: abgerundete Ecken 13">
            <a:extLst>
              <a:ext uri="{FF2B5EF4-FFF2-40B4-BE49-F238E27FC236}">
                <a16:creationId xmlns:a16="http://schemas.microsoft.com/office/drawing/2014/main" id="{5420D20D-6F74-C1FF-1433-56C6F56A08B0}"/>
              </a:ext>
            </a:extLst>
          </p:cNvPr>
          <p:cNvSpPr/>
          <p:nvPr/>
        </p:nvSpPr>
        <p:spPr>
          <a:xfrm>
            <a:off x="350627" y="2437773"/>
            <a:ext cx="2548216" cy="512221"/>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Zielszenario</a:t>
            </a:r>
          </a:p>
        </p:txBody>
      </p:sp>
      <p:sp>
        <p:nvSpPr>
          <p:cNvPr id="17" name="Rechteck: abgerundete Ecken 16">
            <a:extLst>
              <a:ext uri="{FF2B5EF4-FFF2-40B4-BE49-F238E27FC236}">
                <a16:creationId xmlns:a16="http://schemas.microsoft.com/office/drawing/2014/main" id="{0A8C9C84-4B0F-799F-6EFB-83CB35B638F5}"/>
              </a:ext>
            </a:extLst>
          </p:cNvPr>
          <p:cNvSpPr/>
          <p:nvPr/>
        </p:nvSpPr>
        <p:spPr>
          <a:xfrm>
            <a:off x="350627" y="3119001"/>
            <a:ext cx="2548216" cy="512221"/>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Gebietseinteilung</a:t>
            </a:r>
          </a:p>
        </p:txBody>
      </p:sp>
      <p:sp>
        <p:nvSpPr>
          <p:cNvPr id="18" name="Rechteck: abgerundete Ecken 17">
            <a:extLst>
              <a:ext uri="{FF2B5EF4-FFF2-40B4-BE49-F238E27FC236}">
                <a16:creationId xmlns:a16="http://schemas.microsoft.com/office/drawing/2014/main" id="{A258498A-E021-1D45-EC9B-A39243D59478}"/>
              </a:ext>
            </a:extLst>
          </p:cNvPr>
          <p:cNvSpPr/>
          <p:nvPr/>
        </p:nvSpPr>
        <p:spPr>
          <a:xfrm>
            <a:off x="350627" y="3800229"/>
            <a:ext cx="2548216" cy="512221"/>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Priorisierung der Teilgebiete</a:t>
            </a:r>
          </a:p>
        </p:txBody>
      </p:sp>
      <p:sp>
        <p:nvSpPr>
          <p:cNvPr id="19" name="Rechteck: abgerundete Ecken 18">
            <a:extLst>
              <a:ext uri="{FF2B5EF4-FFF2-40B4-BE49-F238E27FC236}">
                <a16:creationId xmlns:a16="http://schemas.microsoft.com/office/drawing/2014/main" id="{C688F52F-1611-F2BA-DE00-A96872144331}"/>
              </a:ext>
            </a:extLst>
          </p:cNvPr>
          <p:cNvSpPr/>
          <p:nvPr/>
        </p:nvSpPr>
        <p:spPr>
          <a:xfrm>
            <a:off x="350627" y="4481457"/>
            <a:ext cx="2548216" cy="512221"/>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Ermittlung von Fokusgebieten</a:t>
            </a:r>
          </a:p>
        </p:txBody>
      </p:sp>
      <p:sp>
        <p:nvSpPr>
          <p:cNvPr id="20" name="Rechteck: abgerundete Ecken 19">
            <a:extLst>
              <a:ext uri="{FF2B5EF4-FFF2-40B4-BE49-F238E27FC236}">
                <a16:creationId xmlns:a16="http://schemas.microsoft.com/office/drawing/2014/main" id="{DC5EC3AC-0005-EA22-75B0-BE51EBC0EE0B}"/>
              </a:ext>
            </a:extLst>
          </p:cNvPr>
          <p:cNvSpPr/>
          <p:nvPr/>
        </p:nvSpPr>
        <p:spPr>
          <a:xfrm>
            <a:off x="350627" y="5162684"/>
            <a:ext cx="2548216" cy="512221"/>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Maßnahmenkatalog</a:t>
            </a:r>
          </a:p>
        </p:txBody>
      </p:sp>
      <p:sp>
        <p:nvSpPr>
          <p:cNvPr id="23" name="Pfeil: nach unten 22">
            <a:extLst>
              <a:ext uri="{FF2B5EF4-FFF2-40B4-BE49-F238E27FC236}">
                <a16:creationId xmlns:a16="http://schemas.microsoft.com/office/drawing/2014/main" id="{763412D6-6944-F47F-DD35-D9E3CBCFA599}"/>
              </a:ext>
            </a:extLst>
          </p:cNvPr>
          <p:cNvSpPr/>
          <p:nvPr/>
        </p:nvSpPr>
        <p:spPr>
          <a:xfrm>
            <a:off x="1485089" y="2288930"/>
            <a:ext cx="252920" cy="133595"/>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26" name="Pfeil: nach unten 25">
            <a:extLst>
              <a:ext uri="{FF2B5EF4-FFF2-40B4-BE49-F238E27FC236}">
                <a16:creationId xmlns:a16="http://schemas.microsoft.com/office/drawing/2014/main" id="{888295E9-F9A7-3455-E1D3-4F23B0DD0722}"/>
              </a:ext>
            </a:extLst>
          </p:cNvPr>
          <p:cNvSpPr/>
          <p:nvPr/>
        </p:nvSpPr>
        <p:spPr>
          <a:xfrm>
            <a:off x="1485089" y="2974454"/>
            <a:ext cx="252920" cy="133595"/>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27" name="Pfeil: nach unten 26">
            <a:extLst>
              <a:ext uri="{FF2B5EF4-FFF2-40B4-BE49-F238E27FC236}">
                <a16:creationId xmlns:a16="http://schemas.microsoft.com/office/drawing/2014/main" id="{4D7755C3-BCF6-8904-0745-895B2DD9A8FD}"/>
              </a:ext>
            </a:extLst>
          </p:cNvPr>
          <p:cNvSpPr/>
          <p:nvPr/>
        </p:nvSpPr>
        <p:spPr>
          <a:xfrm>
            <a:off x="1485089" y="3646784"/>
            <a:ext cx="252920" cy="133595"/>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29" name="Pfeil: nach unten 28">
            <a:extLst>
              <a:ext uri="{FF2B5EF4-FFF2-40B4-BE49-F238E27FC236}">
                <a16:creationId xmlns:a16="http://schemas.microsoft.com/office/drawing/2014/main" id="{E3240756-4638-D884-239A-1216FC6C5735}"/>
              </a:ext>
            </a:extLst>
          </p:cNvPr>
          <p:cNvSpPr/>
          <p:nvPr/>
        </p:nvSpPr>
        <p:spPr>
          <a:xfrm>
            <a:off x="1485089" y="4331187"/>
            <a:ext cx="252920" cy="133595"/>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30" name="Pfeil: nach unten 29">
            <a:extLst>
              <a:ext uri="{FF2B5EF4-FFF2-40B4-BE49-F238E27FC236}">
                <a16:creationId xmlns:a16="http://schemas.microsoft.com/office/drawing/2014/main" id="{E3C692AF-61CF-3DFE-7C84-491A3003DC10}"/>
              </a:ext>
            </a:extLst>
          </p:cNvPr>
          <p:cNvSpPr/>
          <p:nvPr/>
        </p:nvSpPr>
        <p:spPr>
          <a:xfrm>
            <a:off x="1485089" y="5010353"/>
            <a:ext cx="252920" cy="133595"/>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Tree>
    <p:extLst>
      <p:ext uri="{BB962C8B-B14F-4D97-AF65-F5344CB8AC3E}">
        <p14:creationId xmlns:p14="http://schemas.microsoft.com/office/powerpoint/2010/main" val="3036043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E3D924-2EA6-8610-D057-47D7FD6356A9}"/>
              </a:ext>
            </a:extLst>
          </p:cNvPr>
          <p:cNvGraphicFramePr>
            <a:graphicFrameLocks noChangeAspect="1"/>
          </p:cNvGraphicFramePr>
          <p:nvPr>
            <p:custDataLst>
              <p:tags r:id="rId1"/>
            </p:custDataLst>
            <p:extLst>
              <p:ext uri="{D42A27DB-BD31-4B8C-83A1-F6EECF244321}">
                <p14:modId xmlns:p14="http://schemas.microsoft.com/office/powerpoint/2010/main" val="2922060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11" progId="TCLayout.ActiveDocument.1">
                  <p:embed/>
                </p:oleObj>
              </mc:Choice>
              <mc:Fallback>
                <p:oleObj name="think-cell Folie" r:id="rId3" imgW="410" imgH="411" progId="TCLayout.ActiveDocument.1">
                  <p:embed/>
                  <p:pic>
                    <p:nvPicPr>
                      <p:cNvPr id="7" name="think-cell data - do not delete" hidden="1">
                        <a:extLst>
                          <a:ext uri="{FF2B5EF4-FFF2-40B4-BE49-F238E27FC236}">
                            <a16:creationId xmlns:a16="http://schemas.microsoft.com/office/drawing/2014/main" id="{ACE3D924-2EA6-8610-D057-47D7FD6356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86D52BC6-A7DD-2DA2-12B6-332152172176}"/>
              </a:ext>
            </a:extLst>
          </p:cNvPr>
          <p:cNvSpPr>
            <a:spLocks noGrp="1"/>
          </p:cNvSpPr>
          <p:nvPr>
            <p:ph type="title"/>
          </p:nvPr>
        </p:nvSpPr>
        <p:spPr/>
        <p:txBody>
          <a:bodyPr vert="horz"/>
          <a:lstStyle/>
          <a:p>
            <a:r>
              <a:rPr lang="de-DE" dirty="0"/>
              <a:t>Teilprojekt C: </a:t>
            </a:r>
            <a:r>
              <a:rPr lang="de-DE" altLang="en-US" dirty="0"/>
              <a:t>Akteurs- und Öffentlichkeitsbeteiligung</a:t>
            </a:r>
            <a:r>
              <a:rPr lang="de-DE" dirty="0"/>
              <a:t> </a:t>
            </a:r>
          </a:p>
        </p:txBody>
      </p:sp>
      <p:sp>
        <p:nvSpPr>
          <p:cNvPr id="5" name="Fußzeilenplatzhalter 4">
            <a:extLst>
              <a:ext uri="{FF2B5EF4-FFF2-40B4-BE49-F238E27FC236}">
                <a16:creationId xmlns:a16="http://schemas.microsoft.com/office/drawing/2014/main" id="{33B9A153-8169-6927-61FE-4727E7322BA3}"/>
              </a:ext>
            </a:extLst>
          </p:cNvPr>
          <p:cNvSpPr>
            <a:spLocks noGrp="1"/>
          </p:cNvSpPr>
          <p:nvPr>
            <p:ph type="ftr" sz="quarter" idx="12"/>
          </p:nvPr>
        </p:nvSpPr>
        <p:spPr/>
        <p:txBody>
          <a:bodyPr/>
          <a:lstStyle/>
          <a:p>
            <a:r>
              <a:rPr lang="de-DE"/>
              <a:t>Kommunale Wärmeplanung Verbandsgemeinde Unkel</a:t>
            </a:r>
          </a:p>
        </p:txBody>
      </p:sp>
      <p:pic>
        <p:nvPicPr>
          <p:cNvPr id="18" name="Grafik 17">
            <a:extLst>
              <a:ext uri="{FF2B5EF4-FFF2-40B4-BE49-F238E27FC236}">
                <a16:creationId xmlns:a16="http://schemas.microsoft.com/office/drawing/2014/main" id="{7DC28247-3EEA-9954-5A4A-0B40B092424D}"/>
              </a:ext>
            </a:extLst>
          </p:cNvPr>
          <p:cNvPicPr>
            <a:picLocks noChangeAspect="1"/>
          </p:cNvPicPr>
          <p:nvPr/>
        </p:nvPicPr>
        <p:blipFill>
          <a:blip r:embed="rId5"/>
          <a:stretch>
            <a:fillRect/>
          </a:stretch>
        </p:blipFill>
        <p:spPr>
          <a:xfrm>
            <a:off x="169139" y="1161656"/>
            <a:ext cx="7222262" cy="5063884"/>
          </a:xfrm>
          <a:prstGeom prst="rect">
            <a:avLst/>
          </a:prstGeom>
        </p:spPr>
      </p:pic>
      <p:sp>
        <p:nvSpPr>
          <p:cNvPr id="19" name="Rechteck 18">
            <a:extLst>
              <a:ext uri="{FF2B5EF4-FFF2-40B4-BE49-F238E27FC236}">
                <a16:creationId xmlns:a16="http://schemas.microsoft.com/office/drawing/2014/main" id="{B401AB89-7FFC-607B-0E16-2624DDC64CE0}"/>
              </a:ext>
            </a:extLst>
          </p:cNvPr>
          <p:cNvSpPr/>
          <p:nvPr/>
        </p:nvSpPr>
        <p:spPr>
          <a:xfrm>
            <a:off x="415478" y="6142365"/>
            <a:ext cx="4027329" cy="2736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00" dirty="0">
                <a:solidFill>
                  <a:schemeClr val="tx1"/>
                </a:solidFill>
              </a:rPr>
              <a:t>Quelle: </a:t>
            </a:r>
            <a:r>
              <a:rPr lang="de-DE" sz="1000" dirty="0" err="1">
                <a:solidFill>
                  <a:schemeClr val="tx1"/>
                </a:solidFill>
              </a:rPr>
              <a:t>ifeu</a:t>
            </a:r>
            <a:r>
              <a:rPr lang="de-DE" sz="1000" dirty="0">
                <a:solidFill>
                  <a:schemeClr val="tx1"/>
                </a:solidFill>
              </a:rPr>
              <a:t> et al. 2024, Leitfaden Wärmeplanung im Auftrag des BMWK</a:t>
            </a:r>
          </a:p>
        </p:txBody>
      </p:sp>
      <p:sp>
        <p:nvSpPr>
          <p:cNvPr id="20" name="Inhaltsplatzhalter 2">
            <a:extLst>
              <a:ext uri="{FF2B5EF4-FFF2-40B4-BE49-F238E27FC236}">
                <a16:creationId xmlns:a16="http://schemas.microsoft.com/office/drawing/2014/main" id="{B2712D6F-09DA-4026-5233-865891012374}"/>
              </a:ext>
            </a:extLst>
          </p:cNvPr>
          <p:cNvSpPr txBox="1">
            <a:spLocks/>
          </p:cNvSpPr>
          <p:nvPr/>
        </p:nvSpPr>
        <p:spPr bwMode="gray">
          <a:xfrm>
            <a:off x="7825740" y="1161656"/>
            <a:ext cx="3886884" cy="4938457"/>
          </a:xfrm>
          <a:prstGeom prst="rect">
            <a:avLst/>
          </a:prstGeom>
        </p:spPr>
        <p:txBody>
          <a:bodyPr vert="horz" lIns="0" tIns="18000" rIns="0" bIns="0" rtlCol="0">
            <a:noAutofit/>
          </a:bodyPr>
          <a:lstStyle>
            <a:lvl1pPr marL="176213" marR="0" indent="-176213" algn="l" defTabSz="914400" rtl="0" eaLnBrk="1" fontAlgn="base" latinLnBrk="0" hangingPunct="1">
              <a:lnSpc>
                <a:spcPct val="100000"/>
              </a:lnSpc>
              <a:spcBef>
                <a:spcPct val="0"/>
              </a:spcBef>
              <a:spcAft>
                <a:spcPts val="1200"/>
              </a:spcAft>
              <a:buClr>
                <a:schemeClr val="tx2"/>
              </a:buClr>
              <a:buSzPct val="75000"/>
              <a:buFont typeface="Wingdings 3" panose="05040102010807070707" pitchFamily="18" charset="2"/>
              <a:buChar char="}"/>
              <a:tabLst/>
              <a:defRPr sz="1800" kern="1200" baseline="0">
                <a:solidFill>
                  <a:schemeClr val="tx1"/>
                </a:solidFill>
                <a:latin typeface="+mn-lt"/>
                <a:ea typeface="+mn-ea"/>
                <a:cs typeface="+mn-cs"/>
              </a:defRPr>
            </a:lvl1pPr>
            <a:lvl2pPr marL="360363" marR="0" indent="-184150" algn="l" defTabSz="914400" rtl="0" eaLnBrk="1" fontAlgn="base" latinLnBrk="0" hangingPunct="1">
              <a:lnSpc>
                <a:spcPct val="100000"/>
              </a:lnSpc>
              <a:spcBef>
                <a:spcPts val="0"/>
              </a:spcBef>
              <a:spcAft>
                <a:spcPts val="600"/>
              </a:spcAft>
              <a:buClr>
                <a:schemeClr val="tx2"/>
              </a:buClr>
              <a:buSzPct val="75000"/>
              <a:buFont typeface="Wingdings" panose="05000000000000000000" pitchFamily="2" charset="2"/>
              <a:buChar char="§"/>
              <a:tabLst/>
              <a:defRPr sz="1600" kern="1200">
                <a:solidFill>
                  <a:schemeClr val="tx1"/>
                </a:solidFill>
                <a:latin typeface="+mn-lt"/>
                <a:ea typeface="+mn-ea"/>
                <a:cs typeface="+mn-cs"/>
              </a:defRPr>
            </a:lvl2pPr>
            <a:lvl3pPr marL="534988" marR="0" indent="-174625" algn="l" defTabSz="914400" rtl="0" eaLnBrk="1" fontAlgn="base" latinLnBrk="0" hangingPunct="1">
              <a:lnSpc>
                <a:spcPct val="100000"/>
              </a:lnSpc>
              <a:spcBef>
                <a:spcPts val="0"/>
              </a:spcBef>
              <a:spcAft>
                <a:spcPts val="600"/>
              </a:spcAft>
              <a:buClr>
                <a:schemeClr val="tx2"/>
              </a:buClr>
              <a:buSzPct val="75000"/>
              <a:buFont typeface="Symbol" panose="05050102010706020507" pitchFamily="18" charset="2"/>
              <a:buChar char="-"/>
              <a:tabLst/>
              <a:defRPr sz="1400" kern="1200">
                <a:solidFill>
                  <a:schemeClr val="tx1"/>
                </a:solidFill>
                <a:latin typeface="+mn-lt"/>
                <a:ea typeface="+mn-ea"/>
                <a:cs typeface="+mn-cs"/>
              </a:defRPr>
            </a:lvl3pPr>
            <a:lvl4pPr marL="720725" marR="0" indent="-185738" algn="l" defTabSz="914400" rtl="0" eaLnBrk="1" fontAlgn="base" latinLnBrk="0" hangingPunct="1">
              <a:lnSpc>
                <a:spcPct val="100000"/>
              </a:lnSpc>
              <a:spcBef>
                <a:spcPts val="0"/>
              </a:spcBef>
              <a:spcAft>
                <a:spcPts val="600"/>
              </a:spcAft>
              <a:buClr>
                <a:schemeClr val="tx2"/>
              </a:buClr>
              <a:buSzPct val="75000"/>
              <a:buFont typeface="Arial" panose="020B0604020202020204" pitchFamily="34" charset="0"/>
              <a:buChar char="•"/>
              <a:tabLst/>
              <a:defRPr sz="1200" kern="1200">
                <a:solidFill>
                  <a:schemeClr val="tx1"/>
                </a:solidFill>
                <a:latin typeface="+mn-lt"/>
                <a:ea typeface="+mn-ea"/>
                <a:cs typeface="+mn-cs"/>
              </a:defRPr>
            </a:lvl4pPr>
            <a:lvl5pPr marL="895350" marR="0" indent="-174625" algn="l" defTabSz="914400" rtl="0" eaLnBrk="1" fontAlgn="base" latinLnBrk="0" hangingPunct="1">
              <a:lnSpc>
                <a:spcPct val="100000"/>
              </a:lnSpc>
              <a:spcBef>
                <a:spcPts val="0"/>
              </a:spcBef>
              <a:spcAft>
                <a:spcPts val="600"/>
              </a:spcAft>
              <a:buClr>
                <a:schemeClr val="tx2"/>
              </a:buClr>
              <a:buSzPct val="75000"/>
              <a:buFont typeface="Corbel" panose="020B0503020204020204" pitchFamily="34" charset="0"/>
              <a:buChar char="»"/>
              <a:tabLst/>
              <a:defRPr sz="1000" kern="1200">
                <a:solidFill>
                  <a:schemeClr val="tx1"/>
                </a:solidFill>
                <a:latin typeface="+mn-lt"/>
                <a:ea typeface="+mn-ea"/>
                <a:cs typeface="+mn-cs"/>
              </a:defRPr>
            </a:lvl5pPr>
            <a:lvl6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6pPr>
            <a:lvl7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7pPr>
            <a:lvl8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8pPr>
            <a:lvl9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9pPr>
          </a:lstStyle>
          <a:p>
            <a:pPr marL="0" indent="0">
              <a:buFont typeface="Wingdings 3" panose="05040102010807070707" pitchFamily="18" charset="2"/>
              <a:buNone/>
            </a:pPr>
            <a:r>
              <a:rPr lang="de-DE" sz="1600" b="1" dirty="0"/>
              <a:t>Akteursbeteiligung</a:t>
            </a:r>
            <a:endParaRPr lang="de-DE" b="1" dirty="0"/>
          </a:p>
          <a:p>
            <a:r>
              <a:rPr lang="de-DE" sz="1600" dirty="0"/>
              <a:t>Wir identifizieren zunächst alle relevanten Akteure der Wärmeplanung und sprechen diese gezielt an</a:t>
            </a:r>
          </a:p>
          <a:p>
            <a:r>
              <a:rPr lang="de-DE" sz="1600" dirty="0"/>
              <a:t>Wir fragen Daten und Planungsstände bei diesen ab, um diese in die Wärmeplanung einfließen zu lassen</a:t>
            </a:r>
          </a:p>
          <a:p>
            <a:r>
              <a:rPr lang="de-DE" sz="1600" dirty="0"/>
              <a:t>Alle Akteure erhalten die Möglichkeit, Stellungnahmen zu den Ergebnissen abzugeben</a:t>
            </a:r>
          </a:p>
          <a:p>
            <a:endParaRPr lang="de-DE" sz="1600" dirty="0"/>
          </a:p>
          <a:p>
            <a:pPr marL="0" indent="0">
              <a:buNone/>
            </a:pPr>
            <a:r>
              <a:rPr lang="de-DE" sz="1600" b="1" dirty="0"/>
              <a:t>Öffentlichkeitsbeteiligung</a:t>
            </a:r>
          </a:p>
          <a:p>
            <a:r>
              <a:rPr lang="de-DE" sz="1600" dirty="0"/>
              <a:t>In einem Bürgerbeteiligungsprozess erhalten alle Bürgerinnen und Bürger die Möglichkeit, Einsicht in die vorläufigen Ergebnisse zu erhalten und Stellungnahmen abzugeben</a:t>
            </a:r>
          </a:p>
          <a:p>
            <a:endParaRPr lang="de-DE" sz="1600" dirty="0"/>
          </a:p>
        </p:txBody>
      </p:sp>
    </p:spTree>
    <p:extLst>
      <p:ext uri="{BB962C8B-B14F-4D97-AF65-F5344CB8AC3E}">
        <p14:creationId xmlns:p14="http://schemas.microsoft.com/office/powerpoint/2010/main" val="1922010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84DA45-41C5-D3CC-8FC1-E27FA9B9E2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6" name="think-cell data - do not delete" hidden="1">
                        <a:extLst>
                          <a:ext uri="{FF2B5EF4-FFF2-40B4-BE49-F238E27FC236}">
                            <a16:creationId xmlns:a16="http://schemas.microsoft.com/office/drawing/2014/main" id="{1784DA45-41C5-D3CC-8FC1-E27FA9B9E2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893CA6-E5F8-F4F5-DE8A-02E10A3EC18D}"/>
              </a:ext>
            </a:extLst>
          </p:cNvPr>
          <p:cNvSpPr>
            <a:spLocks noGrp="1"/>
          </p:cNvSpPr>
          <p:nvPr>
            <p:ph type="title"/>
          </p:nvPr>
        </p:nvSpPr>
        <p:spPr/>
        <p:txBody>
          <a:bodyPr vert="horz"/>
          <a:lstStyle/>
          <a:p>
            <a:r>
              <a:rPr lang="de-DE"/>
              <a:t>Teilkonzept D: Verstetigung und Controlling</a:t>
            </a:r>
          </a:p>
        </p:txBody>
      </p:sp>
      <p:sp>
        <p:nvSpPr>
          <p:cNvPr id="3" name="Inhaltsplatzhalter 2">
            <a:extLst>
              <a:ext uri="{FF2B5EF4-FFF2-40B4-BE49-F238E27FC236}">
                <a16:creationId xmlns:a16="http://schemas.microsoft.com/office/drawing/2014/main" id="{8F846FEC-1F0E-1C61-4852-B656F3C8801B}"/>
              </a:ext>
            </a:extLst>
          </p:cNvPr>
          <p:cNvSpPr>
            <a:spLocks noGrp="1"/>
          </p:cNvSpPr>
          <p:nvPr>
            <p:ph sz="quarter" idx="10"/>
          </p:nvPr>
        </p:nvSpPr>
        <p:spPr>
          <a:xfrm>
            <a:off x="407988" y="3196161"/>
            <a:ext cx="5111948" cy="2205020"/>
          </a:xfrm>
        </p:spPr>
        <p:txBody>
          <a:bodyPr/>
          <a:lstStyle/>
          <a:p>
            <a:pPr marL="0" indent="0">
              <a:buNone/>
            </a:pPr>
            <a:r>
              <a:rPr lang="de-DE" b="1" dirty="0"/>
              <a:t>Verstetigungsstrategie</a:t>
            </a:r>
          </a:p>
          <a:p>
            <a:r>
              <a:rPr lang="de-DE" sz="1600" dirty="0"/>
              <a:t>Wir entwickeln eine Strategie, mit welcher die dauerhafte Steuerung und Umsetzung der kommunalen Wärmeplanung gewährleistet ist</a:t>
            </a:r>
          </a:p>
          <a:p>
            <a:r>
              <a:rPr lang="de-DE" sz="1600" dirty="0"/>
              <a:t>Außerdem schaffen wir die Basis für eine möglichst aufwandsarme Fortschreibung des Wärmeplans </a:t>
            </a:r>
          </a:p>
          <a:p>
            <a:endParaRPr lang="de-DE" sz="1600" dirty="0"/>
          </a:p>
        </p:txBody>
      </p:sp>
      <p:sp>
        <p:nvSpPr>
          <p:cNvPr id="4" name="Fußzeilenplatzhalter 3">
            <a:extLst>
              <a:ext uri="{FF2B5EF4-FFF2-40B4-BE49-F238E27FC236}">
                <a16:creationId xmlns:a16="http://schemas.microsoft.com/office/drawing/2014/main" id="{9DD41091-F095-C4C3-BB92-26D1F138AC41}"/>
              </a:ext>
            </a:extLst>
          </p:cNvPr>
          <p:cNvSpPr>
            <a:spLocks noGrp="1"/>
          </p:cNvSpPr>
          <p:nvPr>
            <p:ph type="ftr" sz="quarter" idx="11"/>
          </p:nvPr>
        </p:nvSpPr>
        <p:spPr/>
        <p:txBody>
          <a:bodyPr/>
          <a:lstStyle/>
          <a:p>
            <a:r>
              <a:rPr lang="de-DE"/>
              <a:t>Kommunale Wärmeplanung Verbandsgemeinde Unkel</a:t>
            </a:r>
          </a:p>
        </p:txBody>
      </p:sp>
      <p:graphicFrame>
        <p:nvGraphicFramePr>
          <p:cNvPr id="7" name="Tabelle 6">
            <a:extLst>
              <a:ext uri="{FF2B5EF4-FFF2-40B4-BE49-F238E27FC236}">
                <a16:creationId xmlns:a16="http://schemas.microsoft.com/office/drawing/2014/main" id="{3569E146-4166-8725-8054-EAB7CCEC6758}"/>
              </a:ext>
            </a:extLst>
          </p:cNvPr>
          <p:cNvGraphicFramePr>
            <a:graphicFrameLocks noGrp="1"/>
          </p:cNvGraphicFramePr>
          <p:nvPr>
            <p:extLst>
              <p:ext uri="{D42A27DB-BD31-4B8C-83A1-F6EECF244321}">
                <p14:modId xmlns:p14="http://schemas.microsoft.com/office/powerpoint/2010/main" val="3039614728"/>
              </p:ext>
            </p:extLst>
          </p:nvPr>
        </p:nvGraphicFramePr>
        <p:xfrm>
          <a:off x="407988" y="1440640"/>
          <a:ext cx="10991532" cy="1483360"/>
        </p:xfrm>
        <a:graphic>
          <a:graphicData uri="http://schemas.openxmlformats.org/drawingml/2006/table">
            <a:tbl>
              <a:tblPr bandRow="1">
                <a:tableStyleId>{21E4AEA4-8DFA-4A89-87EB-49C32662AFE0}</a:tableStyleId>
              </a:tblPr>
              <a:tblGrid>
                <a:gridCol w="1649412">
                  <a:extLst>
                    <a:ext uri="{9D8B030D-6E8A-4147-A177-3AD203B41FA5}">
                      <a16:colId xmlns:a16="http://schemas.microsoft.com/office/drawing/2014/main" val="4003385225"/>
                    </a:ext>
                  </a:extLst>
                </a:gridCol>
                <a:gridCol w="9342120">
                  <a:extLst>
                    <a:ext uri="{9D8B030D-6E8A-4147-A177-3AD203B41FA5}">
                      <a16:colId xmlns:a16="http://schemas.microsoft.com/office/drawing/2014/main" val="1054003816"/>
                    </a:ext>
                  </a:extLst>
                </a:gridCol>
              </a:tblGrid>
              <a:tr h="370840">
                <a:tc>
                  <a:txBody>
                    <a:bodyPr/>
                    <a:lstStyle/>
                    <a:p>
                      <a:r>
                        <a:rPr lang="de-DE" sz="1600" dirty="0"/>
                        <a:t>Plan</a:t>
                      </a:r>
                      <a:endParaRPr lang="de-DE" sz="1600" dirty="0">
                        <a:latin typeface="+mn-lt"/>
                      </a:endParaRPr>
                    </a:p>
                  </a:txBody>
                  <a:tcPr/>
                </a:tc>
                <a:tc>
                  <a:txBody>
                    <a:bodyPr/>
                    <a:lstStyle/>
                    <a:p>
                      <a:r>
                        <a:rPr kumimoji="0" lang="de-DE" altLang="en-US" sz="1600" b="0" u="none" strike="noStrike" cap="none" normalizeH="0" baseline="0">
                          <a:ln>
                            <a:noFill/>
                          </a:ln>
                          <a:solidFill>
                            <a:schemeClr val="tx1"/>
                          </a:solidFill>
                          <a:effectLst/>
                        </a:rPr>
                        <a:t>Erstellung des initialen kommunalen Wärmeplans</a:t>
                      </a:r>
                      <a:endParaRPr lang="de-DE" sz="1600">
                        <a:latin typeface="+mn-lt"/>
                      </a:endParaRPr>
                    </a:p>
                  </a:txBody>
                  <a:tcPr/>
                </a:tc>
                <a:extLst>
                  <a:ext uri="{0D108BD9-81ED-4DB2-BD59-A6C34878D82A}">
                    <a16:rowId xmlns:a16="http://schemas.microsoft.com/office/drawing/2014/main" val="4260239554"/>
                  </a:ext>
                </a:extLst>
              </a:tr>
              <a:tr h="370840">
                <a:tc>
                  <a:txBody>
                    <a:bodyPr/>
                    <a:lstStyle/>
                    <a:p>
                      <a:r>
                        <a:rPr lang="de-DE" sz="1600"/>
                        <a:t>Do</a:t>
                      </a:r>
                      <a:endParaRPr lang="de-DE" sz="1600">
                        <a:latin typeface="+mn-lt"/>
                      </a:endParaRPr>
                    </a:p>
                  </a:txBody>
                  <a:tcPr/>
                </a:tc>
                <a:tc>
                  <a:txBody>
                    <a:bodyPr/>
                    <a:lstStyle/>
                    <a:p>
                      <a:r>
                        <a:rPr kumimoji="0" lang="de-DE" altLang="en-US" sz="1600" b="0" u="none" strike="noStrike" cap="none" normalizeH="0" baseline="0" dirty="0">
                          <a:ln>
                            <a:noFill/>
                          </a:ln>
                          <a:solidFill>
                            <a:schemeClr val="tx1"/>
                          </a:solidFill>
                          <a:effectLst/>
                        </a:rPr>
                        <a:t>Umsetzung der Maßnahmen als Verstetigung</a:t>
                      </a:r>
                      <a:endParaRPr lang="de-DE" sz="1600" dirty="0">
                        <a:latin typeface="+mn-lt"/>
                      </a:endParaRPr>
                    </a:p>
                  </a:txBody>
                  <a:tcPr/>
                </a:tc>
                <a:extLst>
                  <a:ext uri="{0D108BD9-81ED-4DB2-BD59-A6C34878D82A}">
                    <a16:rowId xmlns:a16="http://schemas.microsoft.com/office/drawing/2014/main" val="2009584282"/>
                  </a:ext>
                </a:extLst>
              </a:tr>
              <a:tr h="370840">
                <a:tc>
                  <a:txBody>
                    <a:bodyPr/>
                    <a:lstStyle/>
                    <a:p>
                      <a:r>
                        <a:rPr lang="de-DE" sz="1600"/>
                        <a:t>Check</a:t>
                      </a:r>
                      <a:endParaRPr lang="de-DE" sz="1600">
                        <a:latin typeface="+mn-lt"/>
                      </a:endParaRPr>
                    </a:p>
                  </a:txBody>
                  <a:tcPr/>
                </a:tc>
                <a:tc>
                  <a:txBody>
                    <a:bodyPr/>
                    <a:lstStyle/>
                    <a:p>
                      <a:r>
                        <a:rPr kumimoji="0" lang="de-DE" altLang="en-US" sz="1600" b="0" u="none" strike="noStrike" cap="none" normalizeH="0" baseline="0">
                          <a:ln>
                            <a:noFill/>
                          </a:ln>
                          <a:solidFill>
                            <a:schemeClr val="tx1"/>
                          </a:solidFill>
                          <a:effectLst/>
                        </a:rPr>
                        <a:t>Prüfung der Wirksamkeit und Adäquanz des Wärmeplans und der umgesetzten Maßnahmen </a:t>
                      </a:r>
                      <a:r>
                        <a:rPr kumimoji="0" lang="de-DE" altLang="en-US" sz="1600" b="0" u="none" strike="noStrike" cap="none" normalizeH="0" baseline="0">
                          <a:ln>
                            <a:noFill/>
                          </a:ln>
                          <a:solidFill>
                            <a:schemeClr val="tx1"/>
                          </a:solidFill>
                          <a:effectLst/>
                          <a:sym typeface="Wingdings" panose="05000000000000000000" pitchFamily="2" charset="2"/>
                        </a:rPr>
                        <a:t> Controlling</a:t>
                      </a:r>
                      <a:endParaRPr lang="de-DE" sz="1600">
                        <a:latin typeface="+mn-lt"/>
                      </a:endParaRPr>
                    </a:p>
                  </a:txBody>
                  <a:tcPr/>
                </a:tc>
                <a:extLst>
                  <a:ext uri="{0D108BD9-81ED-4DB2-BD59-A6C34878D82A}">
                    <a16:rowId xmlns:a16="http://schemas.microsoft.com/office/drawing/2014/main" val="4213711946"/>
                  </a:ext>
                </a:extLst>
              </a:tr>
              <a:tr h="370840">
                <a:tc>
                  <a:txBody>
                    <a:bodyPr/>
                    <a:lstStyle/>
                    <a:p>
                      <a:r>
                        <a:rPr lang="de-DE" sz="1600"/>
                        <a:t>Act</a:t>
                      </a:r>
                      <a:endParaRPr lang="de-DE" sz="1600">
                        <a:latin typeface="+mn-lt"/>
                      </a:endParaRPr>
                    </a:p>
                  </a:txBody>
                  <a:tcPr/>
                </a:tc>
                <a:tc>
                  <a:txBody>
                    <a:bodyPr/>
                    <a:lstStyle/>
                    <a:p>
                      <a:r>
                        <a:rPr kumimoji="0" lang="de-DE" altLang="en-US" sz="1600" b="0" u="none" strike="noStrike" cap="none" normalizeH="0" baseline="0" dirty="0">
                          <a:ln>
                            <a:noFill/>
                          </a:ln>
                          <a:solidFill>
                            <a:schemeClr val="tx1"/>
                          </a:solidFill>
                          <a:effectLst/>
                        </a:rPr>
                        <a:t>Anpassung des Handelns und des Plans</a:t>
                      </a:r>
                      <a:endParaRPr lang="de-DE" sz="1600" dirty="0">
                        <a:latin typeface="+mn-lt"/>
                      </a:endParaRPr>
                    </a:p>
                  </a:txBody>
                  <a:tcPr/>
                </a:tc>
                <a:extLst>
                  <a:ext uri="{0D108BD9-81ED-4DB2-BD59-A6C34878D82A}">
                    <a16:rowId xmlns:a16="http://schemas.microsoft.com/office/drawing/2014/main" val="4107399221"/>
                  </a:ext>
                </a:extLst>
              </a:tr>
            </a:tbl>
          </a:graphicData>
        </a:graphic>
      </p:graphicFrame>
      <p:sp>
        <p:nvSpPr>
          <p:cNvPr id="8" name="Inhaltsplatzhalter 2">
            <a:extLst>
              <a:ext uri="{FF2B5EF4-FFF2-40B4-BE49-F238E27FC236}">
                <a16:creationId xmlns:a16="http://schemas.microsoft.com/office/drawing/2014/main" id="{97A9C75B-E87A-B7FF-DAA6-1EB935747AA5}"/>
              </a:ext>
            </a:extLst>
          </p:cNvPr>
          <p:cNvSpPr txBox="1">
            <a:spLocks/>
          </p:cNvSpPr>
          <p:nvPr/>
        </p:nvSpPr>
        <p:spPr bwMode="gray">
          <a:xfrm>
            <a:off x="6096000" y="3196161"/>
            <a:ext cx="5400600" cy="2087761"/>
          </a:xfrm>
          <a:prstGeom prst="rect">
            <a:avLst/>
          </a:prstGeom>
        </p:spPr>
        <p:txBody>
          <a:bodyPr vert="horz" lIns="0" tIns="18000" rIns="0" bIns="0" rtlCol="0">
            <a:noAutofit/>
          </a:bodyPr>
          <a:lstStyle>
            <a:lvl1pPr marL="176213" marR="0" indent="-176213" algn="l" defTabSz="914400" rtl="0" eaLnBrk="1" fontAlgn="base" latinLnBrk="0" hangingPunct="1">
              <a:lnSpc>
                <a:spcPct val="100000"/>
              </a:lnSpc>
              <a:spcBef>
                <a:spcPct val="0"/>
              </a:spcBef>
              <a:spcAft>
                <a:spcPts val="1200"/>
              </a:spcAft>
              <a:buClr>
                <a:schemeClr val="tx2"/>
              </a:buClr>
              <a:buSzPct val="75000"/>
              <a:buFont typeface="Wingdings 3" panose="05040102010807070707" pitchFamily="18" charset="2"/>
              <a:buChar char="}"/>
              <a:tabLst/>
              <a:defRPr sz="1800" kern="1200" baseline="0">
                <a:solidFill>
                  <a:schemeClr val="tx1"/>
                </a:solidFill>
                <a:latin typeface="+mn-lt"/>
                <a:ea typeface="+mn-ea"/>
                <a:cs typeface="+mn-cs"/>
              </a:defRPr>
            </a:lvl1pPr>
            <a:lvl2pPr marL="360363" marR="0" indent="-184150" algn="l" defTabSz="914400" rtl="0" eaLnBrk="1" fontAlgn="base" latinLnBrk="0" hangingPunct="1">
              <a:lnSpc>
                <a:spcPct val="100000"/>
              </a:lnSpc>
              <a:spcBef>
                <a:spcPts val="0"/>
              </a:spcBef>
              <a:spcAft>
                <a:spcPts val="600"/>
              </a:spcAft>
              <a:buClr>
                <a:schemeClr val="tx2"/>
              </a:buClr>
              <a:buSzPct val="75000"/>
              <a:buFont typeface="Wingdings" panose="05000000000000000000" pitchFamily="2" charset="2"/>
              <a:buChar char="§"/>
              <a:tabLst/>
              <a:defRPr sz="1600" kern="1200">
                <a:solidFill>
                  <a:schemeClr val="tx1"/>
                </a:solidFill>
                <a:latin typeface="+mn-lt"/>
                <a:ea typeface="+mn-ea"/>
                <a:cs typeface="+mn-cs"/>
              </a:defRPr>
            </a:lvl2pPr>
            <a:lvl3pPr marL="534988" marR="0" indent="-174625" algn="l" defTabSz="914400" rtl="0" eaLnBrk="1" fontAlgn="base" latinLnBrk="0" hangingPunct="1">
              <a:lnSpc>
                <a:spcPct val="100000"/>
              </a:lnSpc>
              <a:spcBef>
                <a:spcPts val="0"/>
              </a:spcBef>
              <a:spcAft>
                <a:spcPts val="600"/>
              </a:spcAft>
              <a:buClr>
                <a:schemeClr val="tx2"/>
              </a:buClr>
              <a:buSzPct val="75000"/>
              <a:buFont typeface="Symbol" panose="05050102010706020507" pitchFamily="18" charset="2"/>
              <a:buChar char="-"/>
              <a:tabLst/>
              <a:defRPr sz="1400" kern="1200">
                <a:solidFill>
                  <a:schemeClr val="tx1"/>
                </a:solidFill>
                <a:latin typeface="+mn-lt"/>
                <a:ea typeface="+mn-ea"/>
                <a:cs typeface="+mn-cs"/>
              </a:defRPr>
            </a:lvl3pPr>
            <a:lvl4pPr marL="720725" marR="0" indent="-185738" algn="l" defTabSz="914400" rtl="0" eaLnBrk="1" fontAlgn="base" latinLnBrk="0" hangingPunct="1">
              <a:lnSpc>
                <a:spcPct val="100000"/>
              </a:lnSpc>
              <a:spcBef>
                <a:spcPts val="0"/>
              </a:spcBef>
              <a:spcAft>
                <a:spcPts val="600"/>
              </a:spcAft>
              <a:buClr>
                <a:schemeClr val="tx2"/>
              </a:buClr>
              <a:buSzPct val="75000"/>
              <a:buFont typeface="Arial" panose="020B0604020202020204" pitchFamily="34" charset="0"/>
              <a:buChar char="•"/>
              <a:tabLst/>
              <a:defRPr sz="1200" kern="1200">
                <a:solidFill>
                  <a:schemeClr val="tx1"/>
                </a:solidFill>
                <a:latin typeface="+mn-lt"/>
                <a:ea typeface="+mn-ea"/>
                <a:cs typeface="+mn-cs"/>
              </a:defRPr>
            </a:lvl4pPr>
            <a:lvl5pPr marL="895350" marR="0" indent="-174625" algn="l" defTabSz="914400" rtl="0" eaLnBrk="1" fontAlgn="base" latinLnBrk="0" hangingPunct="1">
              <a:lnSpc>
                <a:spcPct val="100000"/>
              </a:lnSpc>
              <a:spcBef>
                <a:spcPts val="0"/>
              </a:spcBef>
              <a:spcAft>
                <a:spcPts val="600"/>
              </a:spcAft>
              <a:buClr>
                <a:schemeClr val="tx2"/>
              </a:buClr>
              <a:buSzPct val="75000"/>
              <a:buFont typeface="Corbel" panose="020B0503020204020204" pitchFamily="34" charset="0"/>
              <a:buChar char="»"/>
              <a:tabLst/>
              <a:defRPr sz="1000" kern="1200">
                <a:solidFill>
                  <a:schemeClr val="tx1"/>
                </a:solidFill>
                <a:latin typeface="+mn-lt"/>
                <a:ea typeface="+mn-ea"/>
                <a:cs typeface="+mn-cs"/>
              </a:defRPr>
            </a:lvl5pPr>
            <a:lvl6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6pPr>
            <a:lvl7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7pPr>
            <a:lvl8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8pPr>
            <a:lvl9pPr marL="895350" indent="-174625" algn="l" defTabSz="914400" rtl="0" eaLnBrk="1" latinLnBrk="0" hangingPunct="1">
              <a:lnSpc>
                <a:spcPct val="100000"/>
              </a:lnSpc>
              <a:spcBef>
                <a:spcPts val="0"/>
              </a:spcBef>
              <a:spcAft>
                <a:spcPts val="600"/>
              </a:spcAft>
              <a:buClr>
                <a:schemeClr val="tx2"/>
              </a:buClr>
              <a:buSzPct val="75000"/>
              <a:buFont typeface="Corbel" panose="020B0503020204020204" pitchFamily="34" charset="0"/>
              <a:buChar char="»"/>
              <a:defRPr sz="1000" kern="1200">
                <a:solidFill>
                  <a:schemeClr val="tx1"/>
                </a:solidFill>
                <a:latin typeface="+mn-lt"/>
                <a:ea typeface="+mn-ea"/>
                <a:cs typeface="+mn-cs"/>
              </a:defRPr>
            </a:lvl9pPr>
          </a:lstStyle>
          <a:p>
            <a:pPr marL="0" indent="0">
              <a:buFont typeface="Wingdings 3" panose="05040102010807070707" pitchFamily="18" charset="2"/>
              <a:buNone/>
            </a:pPr>
            <a:r>
              <a:rPr lang="de-DE" b="1" dirty="0"/>
              <a:t>Controlling-Methodik</a:t>
            </a:r>
          </a:p>
          <a:p>
            <a:r>
              <a:rPr lang="de-DE" sz="1600" dirty="0"/>
              <a:t>Wir identifizieren Informationen und Kenngrößen, die den Fortschritt der Umsetzung der kommunalen Wärmeplanung hinreichend beschreiben</a:t>
            </a:r>
          </a:p>
          <a:p>
            <a:r>
              <a:rPr lang="de-DE" sz="1600" dirty="0"/>
              <a:t>Das Controlling dient als Grundlage für die Verstetigung zur Lagebestimmung und ist die Entscheidungsgrundlage für potenzielle Anpassungsmaßnahmen </a:t>
            </a:r>
          </a:p>
          <a:p>
            <a:endParaRPr lang="de-DE" sz="1600" dirty="0"/>
          </a:p>
        </p:txBody>
      </p:sp>
    </p:spTree>
    <p:extLst>
      <p:ext uri="{BB962C8B-B14F-4D97-AF65-F5344CB8AC3E}">
        <p14:creationId xmlns:p14="http://schemas.microsoft.com/office/powerpoint/2010/main" val="8170673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7A872-257E-C82B-CA7A-F2AEEB0BBA4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3323F97-7FDA-A367-3EEB-3628F22F19FF}"/>
              </a:ext>
            </a:extLst>
          </p:cNvPr>
          <p:cNvGraphicFramePr>
            <a:graphicFrameLocks noChangeAspect="1"/>
          </p:cNvGraphicFramePr>
          <p:nvPr>
            <p:custDataLst>
              <p:tags r:id="rId1"/>
            </p:custDataLst>
            <p:extLst>
              <p:ext uri="{D42A27DB-BD31-4B8C-83A1-F6EECF244321}">
                <p14:modId xmlns:p14="http://schemas.microsoft.com/office/powerpoint/2010/main" val="1915126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7" name="think-cell data - do not delete" hidden="1">
                        <a:extLst>
                          <a:ext uri="{FF2B5EF4-FFF2-40B4-BE49-F238E27FC236}">
                            <a16:creationId xmlns:a16="http://schemas.microsoft.com/office/drawing/2014/main" id="{C3323F97-7FDA-A367-3EEB-3628F22F19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Inhaltsplatzhalter 13">
            <a:extLst>
              <a:ext uri="{FF2B5EF4-FFF2-40B4-BE49-F238E27FC236}">
                <a16:creationId xmlns:a16="http://schemas.microsoft.com/office/drawing/2014/main" id="{BF8F6E8E-FA88-553D-CE7C-EF76AC178440}"/>
              </a:ext>
            </a:extLst>
          </p:cNvPr>
          <p:cNvSpPr>
            <a:spLocks noGrp="1"/>
          </p:cNvSpPr>
          <p:nvPr>
            <p:ph sz="quarter" idx="11"/>
          </p:nvPr>
        </p:nvSpPr>
        <p:spPr>
          <a:xfrm>
            <a:off x="340615" y="1435101"/>
            <a:ext cx="3450335" cy="3802299"/>
          </a:xfrm>
        </p:spPr>
        <p:txBody>
          <a:bodyPr/>
          <a:lstStyle/>
          <a:p>
            <a:pPr marL="0" indent="0">
              <a:buNone/>
            </a:pPr>
            <a:r>
              <a:rPr lang="de-DE" b="1" dirty="0"/>
              <a:t>Inhalte des Kommunalen Wärmeplans</a:t>
            </a:r>
          </a:p>
          <a:p>
            <a:r>
              <a:rPr lang="de-DE" dirty="0"/>
              <a:t>Beschreibung der Inhalte einer kommunalen Wärmeplanung</a:t>
            </a:r>
          </a:p>
          <a:p>
            <a:r>
              <a:rPr lang="de-DE" dirty="0"/>
              <a:t>Kurze Dokumentation der Vorgehensweise und Methodik</a:t>
            </a:r>
          </a:p>
          <a:p>
            <a:r>
              <a:rPr lang="de-DE" dirty="0"/>
              <a:t>Gebietseinteilung auf Baublockebene (Bsp. siehe rechts)</a:t>
            </a:r>
          </a:p>
          <a:p>
            <a:r>
              <a:rPr lang="de-DE" dirty="0"/>
              <a:t>Beschreibung und Darstellung der zentralen Ergebnisse mindestens auf Baublockebene</a:t>
            </a:r>
          </a:p>
          <a:p>
            <a:r>
              <a:rPr lang="de-DE" dirty="0"/>
              <a:t>Rückmeldungen aus der Öffentlichkeits- und Akteursbeteiligung</a:t>
            </a:r>
          </a:p>
        </p:txBody>
      </p:sp>
      <p:sp>
        <p:nvSpPr>
          <p:cNvPr id="2" name="Titel 1">
            <a:extLst>
              <a:ext uri="{FF2B5EF4-FFF2-40B4-BE49-F238E27FC236}">
                <a16:creationId xmlns:a16="http://schemas.microsoft.com/office/drawing/2014/main" id="{0D575B94-F034-39D7-112C-AB4C72BF0817}"/>
              </a:ext>
            </a:extLst>
          </p:cNvPr>
          <p:cNvSpPr>
            <a:spLocks noGrp="1"/>
          </p:cNvSpPr>
          <p:nvPr>
            <p:ph type="title"/>
          </p:nvPr>
        </p:nvSpPr>
        <p:spPr/>
        <p:txBody>
          <a:bodyPr vert="horz"/>
          <a:lstStyle/>
          <a:p>
            <a:r>
              <a:rPr lang="de-DE" dirty="0"/>
              <a:t>Ergebnis: Kommunaler Wärmeplan inkl. Einteilung der Kommune in voraussichtliche Wärmeversorgungsgebiete</a:t>
            </a:r>
          </a:p>
        </p:txBody>
      </p:sp>
      <p:sp>
        <p:nvSpPr>
          <p:cNvPr id="5" name="Fußzeilenplatzhalter 4">
            <a:extLst>
              <a:ext uri="{FF2B5EF4-FFF2-40B4-BE49-F238E27FC236}">
                <a16:creationId xmlns:a16="http://schemas.microsoft.com/office/drawing/2014/main" id="{211CA3C8-04B9-9692-30DF-40ED7F930DB4}"/>
              </a:ext>
            </a:extLst>
          </p:cNvPr>
          <p:cNvSpPr>
            <a:spLocks noGrp="1"/>
          </p:cNvSpPr>
          <p:nvPr>
            <p:ph type="ftr" sz="quarter" idx="12"/>
          </p:nvPr>
        </p:nvSpPr>
        <p:spPr/>
        <p:txBody>
          <a:bodyPr/>
          <a:lstStyle/>
          <a:p>
            <a:r>
              <a:rPr lang="de-DE"/>
              <a:t>Kommunale Wärmeplanung Verbandsgemeinde Unkel</a:t>
            </a:r>
          </a:p>
        </p:txBody>
      </p:sp>
      <p:pic>
        <p:nvPicPr>
          <p:cNvPr id="23" name="Grafik 22">
            <a:extLst>
              <a:ext uri="{FF2B5EF4-FFF2-40B4-BE49-F238E27FC236}">
                <a16:creationId xmlns:a16="http://schemas.microsoft.com/office/drawing/2014/main" id="{48206809-204B-A2DA-6177-D5891FA12B8A}"/>
              </a:ext>
            </a:extLst>
          </p:cNvPr>
          <p:cNvPicPr>
            <a:picLocks noChangeAspect="1"/>
          </p:cNvPicPr>
          <p:nvPr/>
        </p:nvPicPr>
        <p:blipFill>
          <a:blip r:embed="rId5">
            <a:extLst>
              <a:ext uri="{28A0092B-C50C-407E-A947-70E740481C1C}">
                <a14:useLocalDpi xmlns:a14="http://schemas.microsoft.com/office/drawing/2010/main" val="0"/>
              </a:ext>
            </a:extLst>
          </a:blip>
          <a:srcRect l="1105" t="414" r="1873" b="1785"/>
          <a:stretch/>
        </p:blipFill>
        <p:spPr>
          <a:xfrm>
            <a:off x="3922871" y="1435101"/>
            <a:ext cx="7997223" cy="4639350"/>
          </a:xfrm>
          <a:prstGeom prst="rect">
            <a:avLst/>
          </a:prstGeom>
          <a:effectLst>
            <a:outerShdw blurRad="63500" sx="102000" sy="102000" algn="ctr" rotWithShape="0">
              <a:prstClr val="black">
                <a:alpha val="40000"/>
              </a:prstClr>
            </a:outerShdw>
          </a:effectLst>
        </p:spPr>
      </p:pic>
      <p:sp>
        <p:nvSpPr>
          <p:cNvPr id="4" name="Rechteck 3">
            <a:extLst>
              <a:ext uri="{FF2B5EF4-FFF2-40B4-BE49-F238E27FC236}">
                <a16:creationId xmlns:a16="http://schemas.microsoft.com/office/drawing/2014/main" id="{4C274B8A-1953-6B9F-1FC1-5A1D7953352A}"/>
              </a:ext>
            </a:extLst>
          </p:cNvPr>
          <p:cNvSpPr/>
          <p:nvPr/>
        </p:nvSpPr>
        <p:spPr>
          <a:xfrm>
            <a:off x="3922870" y="5795247"/>
            <a:ext cx="4027329" cy="2736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000" dirty="0">
                <a:solidFill>
                  <a:schemeClr val="tx1"/>
                </a:solidFill>
              </a:rPr>
              <a:t>Quelle: </a:t>
            </a:r>
            <a:r>
              <a:rPr lang="de-DE" sz="1000" dirty="0" err="1">
                <a:solidFill>
                  <a:schemeClr val="tx1"/>
                </a:solidFill>
              </a:rPr>
              <a:t>ifeu</a:t>
            </a:r>
            <a:r>
              <a:rPr lang="de-DE" sz="1000" dirty="0">
                <a:solidFill>
                  <a:schemeClr val="tx1"/>
                </a:solidFill>
              </a:rPr>
              <a:t> et al. 2024, Leitfaden Wärmeplanung im Auftrag des BMWK</a:t>
            </a:r>
          </a:p>
        </p:txBody>
      </p:sp>
    </p:spTree>
    <p:extLst>
      <p:ext uri="{BB962C8B-B14F-4D97-AF65-F5344CB8AC3E}">
        <p14:creationId xmlns:p14="http://schemas.microsoft.com/office/powerpoint/2010/main" val="2475521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PRESENTATIONDONOTDELETE" val="&lt;?xml version=&quot;1.0&quot; encoding=&quot;UTF-16&quot; standalone=&quot;yes&quot;?&gt;&lt;root reqver=&quot;28224&quot;&gt;&lt;version val=&quot;3535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BHC">
  <a:themeElements>
    <a:clrScheme name="BBH-Gruppe">
      <a:dk1>
        <a:srgbClr val="000000"/>
      </a:dk1>
      <a:lt1>
        <a:srgbClr val="FFFFFF"/>
      </a:lt1>
      <a:dk2>
        <a:srgbClr val="DC0C23"/>
      </a:dk2>
      <a:lt2>
        <a:srgbClr val="F3F0E7"/>
      </a:lt2>
      <a:accent1>
        <a:srgbClr val="5F5E5E"/>
      </a:accent1>
      <a:accent2>
        <a:srgbClr val="518E9F"/>
      </a:accent2>
      <a:accent3>
        <a:srgbClr val="A08269"/>
      </a:accent3>
      <a:accent4>
        <a:srgbClr val="00374B"/>
      </a:accent4>
      <a:accent5>
        <a:srgbClr val="9B0028"/>
      </a:accent5>
      <a:accent6>
        <a:srgbClr val="E6F0F7"/>
      </a:accent6>
      <a:hlink>
        <a:srgbClr val="DC0C23"/>
      </a:hlink>
      <a:folHlink>
        <a:srgbClr val="518E9F"/>
      </a:folHlink>
    </a:clrScheme>
    <a:fontScheme name="BBH-Gruppe">
      <a:majorFont>
        <a:latin typeface="Cambria"/>
        <a:ea typeface=""/>
        <a:cs typeface=""/>
      </a:majorFont>
      <a:minorFont>
        <a:latin typeface="Corbe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9525">
          <a:solidFill>
            <a:schemeClr val="accent2"/>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BBH-Gruppe">
        <a:dk1>
          <a:srgbClr val="000000"/>
        </a:dk1>
        <a:lt1>
          <a:srgbClr val="FFFFFF"/>
        </a:lt1>
        <a:dk2>
          <a:srgbClr val="DC0C23"/>
        </a:dk2>
        <a:lt2>
          <a:srgbClr val="F4F2E8"/>
        </a:lt2>
        <a:accent1>
          <a:srgbClr val="5F5E5E"/>
        </a:accent1>
        <a:accent2>
          <a:srgbClr val="BFBEBE"/>
        </a:accent2>
        <a:accent3>
          <a:srgbClr val="2F2F2F"/>
        </a:accent3>
        <a:accent4>
          <a:srgbClr val="979797"/>
        </a:accent4>
        <a:accent5>
          <a:srgbClr val="518E9F"/>
        </a:accent5>
        <a:accent6>
          <a:srgbClr val="E6F0F7"/>
        </a:accent6>
        <a:hlink>
          <a:srgbClr val="518E9F"/>
        </a:hlink>
        <a:folHlink>
          <a:srgbClr val="518E9F"/>
        </a:folHlink>
      </a:clrScheme>
    </a:extraClrScheme>
  </a:extraClrSchemeLst>
  <a:custClrLst>
    <a:custClr name="Signal Orange-Rot">
      <a:srgbClr val="F5644B"/>
    </a:custClr>
    <a:custClr name="Signal Gelb">
      <a:srgbClr val="D2B900"/>
    </a:custClr>
    <a:custClr name="Signal Grün">
      <a:srgbClr val="007D55"/>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80%">
      <a:srgbClr val="F5826E"/>
    </a:custClr>
    <a:custClr name="80%">
      <a:srgbClr val="DCC832"/>
    </a:custClr>
    <a:custClr name="80%">
      <a:srgbClr val="329678"/>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40%">
      <a:srgbClr val="FABEB4"/>
    </a:custClr>
    <a:custClr name="40%">
      <a:srgbClr val="F0E69B"/>
    </a:custClr>
    <a:custClr name="40%">
      <a:srgbClr val="96CDBE"/>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 name="20%">
      <a:srgbClr val="FAE1DC"/>
    </a:custClr>
    <a:custClr name="20%">
      <a:srgbClr val="F5F0CD"/>
    </a:custClr>
    <a:custClr name="20%">
      <a:srgbClr val="CDE6DC"/>
    </a:custClr>
    <a:custClr name="#">
      <a:srgbClr val="FFFFFF"/>
    </a:custClr>
    <a:custClr name="#">
      <a:srgbClr val="FFFFFF"/>
    </a:custClr>
    <a:custClr name="#">
      <a:srgbClr val="FFFFFF"/>
    </a:custClr>
    <a:custClr name="#">
      <a:srgbClr val="FFFFFF"/>
    </a:custClr>
    <a:custClr name="#">
      <a:srgbClr val="FFFFFF"/>
    </a:custClr>
    <a:custClr name="#">
      <a:srgbClr val="FFFFFF"/>
    </a:custClr>
    <a:custClr name="#">
      <a:srgbClr val="FFFFFF"/>
    </a:custClr>
  </a:custClrLst>
  <a:extLst>
    <a:ext uri="{05A4C25C-085E-4340-85A3-A5531E510DB2}">
      <thm15:themeFamily xmlns:thm15="http://schemas.microsoft.com/office/thememl/2012/main" name="BBHC_16-9.pptx" id="{A45F665C-A9F7-433B-98E8-C4033AE30762}" vid="{62712EED-B9C7-499F-9269-8DE764F2F0BD}"/>
    </a:ext>
  </a:extLst>
</a:theme>
</file>

<file path=ppt/theme/theme2.xml><?xml version="1.0" encoding="utf-8"?>
<a:theme xmlns:a="http://schemas.openxmlformats.org/drawingml/2006/main" name="Larissa">
  <a:themeElements>
    <a:clrScheme name="BBH">
      <a:dk1>
        <a:srgbClr val="000000"/>
      </a:dk1>
      <a:lt1>
        <a:srgbClr val="FFFFFF"/>
      </a:lt1>
      <a:dk2>
        <a:srgbClr val="DC0C23"/>
      </a:dk2>
      <a:lt2>
        <a:srgbClr val="E6F0F7"/>
      </a:lt2>
      <a:accent1>
        <a:srgbClr val="DC0C23"/>
      </a:accent1>
      <a:accent2>
        <a:srgbClr val="E9E5D7"/>
      </a:accent2>
      <a:accent3>
        <a:srgbClr val="518E9F"/>
      </a:accent3>
      <a:accent4>
        <a:srgbClr val="5F5E5E"/>
      </a:accent4>
      <a:accent5>
        <a:srgbClr val="518E9F"/>
      </a:accent5>
      <a:accent6>
        <a:srgbClr val="E6F0F7"/>
      </a:accent6>
      <a:hlink>
        <a:srgbClr val="7030A0"/>
      </a:hlink>
      <a:folHlink>
        <a:srgbClr val="7030A0"/>
      </a:folHlink>
    </a:clrScheme>
    <a:fontScheme name="BBH">
      <a:majorFont>
        <a:latin typeface="Cambria"/>
        <a:ea typeface=""/>
        <a:cs typeface=""/>
      </a:majorFont>
      <a:minorFont>
        <a:latin typeface="Corbe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BH">
      <a:dk1>
        <a:srgbClr val="000000"/>
      </a:dk1>
      <a:lt1>
        <a:srgbClr val="FFFFFF"/>
      </a:lt1>
      <a:dk2>
        <a:srgbClr val="DC0C23"/>
      </a:dk2>
      <a:lt2>
        <a:srgbClr val="E6F0F7"/>
      </a:lt2>
      <a:accent1>
        <a:srgbClr val="DC0C23"/>
      </a:accent1>
      <a:accent2>
        <a:srgbClr val="E9E5D7"/>
      </a:accent2>
      <a:accent3>
        <a:srgbClr val="518E9F"/>
      </a:accent3>
      <a:accent4>
        <a:srgbClr val="5F5E5E"/>
      </a:accent4>
      <a:accent5>
        <a:srgbClr val="518E9F"/>
      </a:accent5>
      <a:accent6>
        <a:srgbClr val="E6F0F7"/>
      </a:accent6>
      <a:hlink>
        <a:srgbClr val="7030A0"/>
      </a:hlink>
      <a:folHlink>
        <a:srgbClr val="7030A0"/>
      </a:folHlink>
    </a:clrScheme>
    <a:fontScheme name="BBH">
      <a:majorFont>
        <a:latin typeface="Cambria"/>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BBHC.Dokument" ma:contentTypeID="0x010100831D809848E9E7489A7EF0D2C6DCF9300039623E02B8706B4CB60C1CC7AFB43EF3" ma:contentTypeVersion="44" ma:contentTypeDescription="Ein neues Dokument erstellen." ma:contentTypeScope="" ma:versionID="415c1bc0be83009d989ce948dd554246">
  <xsd:schema xmlns:xsd="http://www.w3.org/2001/XMLSchema" xmlns:xs="http://www.w3.org/2001/XMLSchema" xmlns:p="http://schemas.microsoft.com/office/2006/metadata/properties" xmlns:ns2="8035233b-0771-40f6-9a57-d970e577b171" xmlns:ns3="710ded97-8f78-49d1-bb0c-2248ba6bfbf4" xmlns:ns4="b2759220-19da-46f7-9332-37e86e77ad64" xmlns:ns5="540b4683-d8a8-4edf-aabb-cfcc3462f6a3" targetNamespace="http://schemas.microsoft.com/office/2006/metadata/properties" ma:root="true" ma:fieldsID="4e1746a8a9dbed9a01f402146034159e" ns2:_="" ns3:_="" ns4:_="" ns5:_="">
    <xsd:import namespace="8035233b-0771-40f6-9a57-d970e577b171"/>
    <xsd:import namespace="710ded97-8f78-49d1-bb0c-2248ba6bfbf4"/>
    <xsd:import namespace="b2759220-19da-46f7-9332-37e86e77ad64"/>
    <xsd:import namespace="540b4683-d8a8-4edf-aabb-cfcc3462f6a3"/>
    <xsd:element name="properties">
      <xsd:complexType>
        <xsd:sequence>
          <xsd:element name="documentManagement">
            <xsd:complexType>
              <xsd:all>
                <xsd:element ref="ns2:GP-Bezeichnung" minOccurs="0"/>
                <xsd:element ref="ns2:DA-Bezeichnung" minOccurs="0"/>
                <xsd:element ref="ns2:DAM-Bezeichnung" minOccurs="0"/>
                <xsd:element ref="ns2:Freitext" minOccurs="0"/>
                <xsd:element ref="ns2:UA-Bezeichnung" minOccurs="0"/>
                <xsd:element ref="ns2:_dlc_DocId" minOccurs="0"/>
                <xsd:element ref="ns2:_dlc_DocIdUrl" minOccurs="0"/>
                <xsd:element ref="ns2:_dlc_DocIdPersistId" minOccurs="0"/>
                <xsd:element ref="ns2:bb17e44459c747a396bff5840b689582" minOccurs="0"/>
                <xsd:element ref="ns3:TaxCatchAll" minOccurs="0"/>
                <xsd:element ref="ns2:TaxCatchAllLabel" minOccurs="0"/>
                <xsd:element ref="ns2:pa0203b43a804f1b920c3b38b51683eb" minOccurs="0"/>
                <xsd:element ref="ns2:n48bc881e4284b329917b457f7c7241c" minOccurs="0"/>
                <xsd:element ref="ns2:Zuständig" minOccurs="0"/>
                <xsd:element ref="ns4:SharedWithUsers" minOccurs="0"/>
                <xsd:element ref="ns4:SharedWithDetails" minOccurs="0"/>
                <xsd:element ref="ns5:MediaServiceMetadata" minOccurs="0"/>
                <xsd:element ref="ns5:MediaServiceFastMetadata" minOccurs="0"/>
                <xsd:element ref="ns5:MediaServiceSearchProperties" minOccurs="0"/>
                <xsd:element ref="ns5: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35233b-0771-40f6-9a57-d970e577b171" elementFormDefault="qualified">
    <xsd:import namespace="http://schemas.microsoft.com/office/2006/documentManagement/types"/>
    <xsd:import namespace="http://schemas.microsoft.com/office/infopath/2007/PartnerControls"/>
    <xsd:element name="GP-Bezeichnung" ma:index="2" nillable="true" ma:displayName="GP-Bezeichnung" ma:internalName="GP_x002d_Bezeichnung">
      <xsd:simpleType>
        <xsd:restriction base="dms:Text">
          <xsd:maxLength value="255"/>
        </xsd:restriction>
      </xsd:simpleType>
    </xsd:element>
    <xsd:element name="DA-Bezeichnung" ma:index="3" nillable="true" ma:displayName="DA-Bezeichnung" ma:internalName="DA_x002d_Bezeichnung">
      <xsd:simpleType>
        <xsd:restriction base="dms:Text">
          <xsd:maxLength value="255"/>
        </xsd:restriction>
      </xsd:simpleType>
    </xsd:element>
    <xsd:element name="DAM-Bezeichnung" ma:index="4" nillable="true" ma:displayName="DAM-Bezeichnung" ma:internalName="DAM_x002d_Bezeichnung" ma:readOnly="false">
      <xsd:simpleType>
        <xsd:restriction base="dms:Text">
          <xsd:maxLength value="255"/>
        </xsd:restriction>
      </xsd:simpleType>
    </xsd:element>
    <xsd:element name="Freitext" ma:index="5" nillable="true" ma:displayName="Freitext" ma:internalName="Freitext" ma:readOnly="false">
      <xsd:simpleType>
        <xsd:restriction base="dms:Text">
          <xsd:maxLength value="255"/>
        </xsd:restriction>
      </xsd:simpleType>
    </xsd:element>
    <xsd:element name="UA-Bezeichnung" ma:index="8" nillable="true" ma:displayName="UA-Bezeichnung" ma:default="direkt" ma:description="Kennzeichnung, falls ein Unterauftragsverhältnis besteht." ma:format="Dropdown" ma:internalName="UA_x002d_Bezeichnung" ma:readOnly="false">
      <xsd:simpleType>
        <xsd:restriction base="dms:Choice">
          <xsd:enumeration value="direkt"/>
          <xsd:enumeration value="UA BBH"/>
          <xsd:enumeration value="UA Dritte"/>
        </xsd:restriction>
      </xsd:simpleType>
    </xsd:element>
    <xsd:element name="_dlc_DocId" ma:index="9" nillable="true" ma:displayName="Wert der Dokument-ID" ma:description="Der Wert der diesem Element zugewiesenen Dokument-ID." ma:indexed="true" ma:internalName="_dlc_DocId" ma:readOnly="true">
      <xsd:simpleType>
        <xsd:restriction base="dms:Text"/>
      </xsd:simpleType>
    </xsd:element>
    <xsd:element name="_dlc_DocIdUrl" ma:index="10"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Beständige ID" ma:description="ID beim Hinzufügen beibehalten." ma:hidden="true" ma:internalName="_dlc_DocIdPersistId" ma:readOnly="true">
      <xsd:simpleType>
        <xsd:restriction base="dms:Boolean"/>
      </xsd:simpleType>
    </xsd:element>
    <xsd:element name="bb17e44459c747a396bff5840b689582" ma:index="15" nillable="true" ma:taxonomy="true" ma:internalName="bb17e44459c747a396bff5840b689582" ma:taxonomyFieldName="Gesch_x00e4_ftspartner" ma:displayName="Geschäftspartner" ma:default="" ma:fieldId="{bb17e444-59c7-47a3-96bf-f5840b689582}" ma:sspId="9ce0b9f0-82d0-46c4-8274-a0fd988538da" ma:termSetId="73989420-ebe2-48e2-965c-860a8ef259e4" ma:anchorId="00000000-0000-0000-0000-000000000000" ma:open="false" ma:isKeyword="false">
      <xsd:complexType>
        <xsd:sequence>
          <xsd:element ref="pc:Terms" minOccurs="0" maxOccurs="1"/>
        </xsd:sequence>
      </xsd:complexType>
    </xsd:element>
    <xsd:element name="TaxCatchAllLabel" ma:index="17" nillable="true" ma:displayName="Taxonomy Catch All Column1" ma:hidden="true" ma:list="{4789ad70-2ba5-46d2-bcba-b5f33b8f9538}" ma:internalName="TaxCatchAllLabel" ma:readOnly="true" ma:showField="CatchAllDataLabel" ma:web="710ded97-8f78-49d1-bb0c-2248ba6bfbf4">
      <xsd:complexType>
        <xsd:complexContent>
          <xsd:extension base="dms:MultiChoiceLookup">
            <xsd:sequence>
              <xsd:element name="Value" type="dms:Lookup" maxOccurs="unbounded" minOccurs="0" nillable="true"/>
            </xsd:sequence>
          </xsd:extension>
        </xsd:complexContent>
      </xsd:complexType>
    </xsd:element>
    <xsd:element name="pa0203b43a804f1b920c3b38b51683eb" ma:index="19" nillable="true" ma:taxonomy="true" ma:internalName="pa0203b43a804f1b920c3b38b51683eb" ma:taxonomyFieldName="Digitale_x0020_Akte" ma:displayName="Digitale Akte" ma:default="" ma:fieldId="{9a0203b4-3a80-4f1b-920c-3b38b51683eb}" ma:sspId="9ce0b9f0-82d0-46c4-8274-a0fd988538da" ma:termSetId="ac9c9933-7d97-42df-a6fc-260497190cd4" ma:anchorId="00000000-0000-0000-0000-000000000000" ma:open="false" ma:isKeyword="false">
      <xsd:complexType>
        <xsd:sequence>
          <xsd:element ref="pc:Terms" minOccurs="0" maxOccurs="1"/>
        </xsd:sequence>
      </xsd:complexType>
    </xsd:element>
    <xsd:element name="n48bc881e4284b329917b457f7c7241c" ma:index="22" nillable="true" ma:taxonomy="true" ma:internalName="n48bc881e4284b329917b457f7c7241c" ma:taxonomyFieldName="Digitale_x0020_Auftragsmappe" ma:displayName="Digitale Auftragsmappe" ma:readOnly="false" ma:default="" ma:fieldId="{748bc881-e428-4b32-9917-b457f7c7241c}" ma:sspId="9ce0b9f0-82d0-46c4-8274-a0fd988538da" ma:termSetId="c3704174-1a6d-4889-a64d-de1b385cd310" ma:anchorId="00000000-0000-0000-0000-000000000000" ma:open="false" ma:isKeyword="false">
      <xsd:complexType>
        <xsd:sequence>
          <xsd:element ref="pc:Terms" minOccurs="0" maxOccurs="1"/>
        </xsd:sequence>
      </xsd:complexType>
    </xsd:element>
    <xsd:element name="Zuständig" ma:index="24" nillable="true" ma:displayName="Zuständig" ma:list="UserInfo" ma:SharePointGroup="0" ma:internalName="Zust_x00e4_ndig"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10ded97-8f78-49d1-bb0c-2248ba6bfbf4" elementFormDefault="qualified">
    <xsd:import namespace="http://schemas.microsoft.com/office/2006/documentManagement/types"/>
    <xsd:import namespace="http://schemas.microsoft.com/office/infopath/2007/PartnerControls"/>
    <xsd:element name="TaxCatchAll" ma:index="16" nillable="true" ma:displayName="Taxonomy Catch All Column" ma:description="" ma:hidden="true" ma:list="{4789ad70-2ba5-46d2-bcba-b5f33b8f9538}" ma:internalName="TaxCatchAll" ma:showField="CatchAllData" ma:web="710ded97-8f78-49d1-bb0c-2248ba6bfbf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2759220-19da-46f7-9332-37e86e77ad64" elementFormDefault="qualified">
    <xsd:import namespace="http://schemas.microsoft.com/office/2006/documentManagement/types"/>
    <xsd:import namespace="http://schemas.microsoft.com/office/infopath/2007/PartnerControls"/>
    <xsd:element name="SharedWithUsers" ma:index="2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6"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40b4683-d8a8-4edf-aabb-cfcc3462f6a3" elementFormDefault="qualified">
    <xsd:import namespace="http://schemas.microsoft.com/office/2006/documentManagement/types"/>
    <xsd:import namespace="http://schemas.microsoft.com/office/infopath/2007/PartnerControls"/>
    <xsd:element name="MediaServiceMetadata" ma:index="27" nillable="true" ma:displayName="MediaServiceMetadata" ma:hidden="true" ma:internalName="MediaServiceMetadata" ma:readOnly="true">
      <xsd:simpleType>
        <xsd:restriction base="dms:Note"/>
      </xsd:simpleType>
    </xsd:element>
    <xsd:element name="MediaServiceFastMetadata" ma:index="28" nillable="true" ma:displayName="MediaServiceFastMetadata" ma:hidden="true" ma:internalName="MediaServiceFastMetadata" ma:readOnly="true">
      <xsd:simpleType>
        <xsd:restriction base="dms:Note"/>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ObjectDetectorVersions" ma:index="3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Inhaltstyp"/>
        <xsd:element ref="dc:title" minOccurs="0" maxOccurs="1" ma:index="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A-Bezeichnung xmlns="8035233b-0771-40f6-9a57-d970e577b171">DA_05102-24_Unterstützung Angebotsprozess Unkel</DA-Bezeichnung>
    <UA-Bezeichnung xmlns="8035233b-0771-40f6-9a57-d970e577b171">direkt</UA-Bezeichnung>
    <pa0203b43a804f1b920c3b38b51683eb xmlns="8035233b-0771-40f6-9a57-d970e577b171">
      <Terms xmlns="http://schemas.microsoft.com/office/infopath/2007/PartnerControls"/>
    </pa0203b43a804f1b920c3b38b51683eb>
    <bb17e44459c747a396bff5840b689582 xmlns="8035233b-0771-40f6-9a57-d970e577b171">
      <Terms xmlns="http://schemas.microsoft.com/office/infopath/2007/PartnerControls"/>
    </bb17e44459c747a396bff5840b689582>
    <DAM-Bezeichnung xmlns="8035233b-0771-40f6-9a57-d970e577b171">DAM_2024-57724</DAM-Bezeichnung>
    <Zuständig xmlns="8035233b-0771-40f6-9a57-d970e577b171">
      <UserInfo>
        <DisplayName/>
        <AccountId xsi:nil="true"/>
        <AccountType/>
      </UserInfo>
    </Zuständig>
    <Freitext xmlns="8035233b-0771-40f6-9a57-d970e577b171" xsi:nil="true"/>
    <n48bc881e4284b329917b457f7c7241c xmlns="8035233b-0771-40f6-9a57-d970e577b171">
      <Terms xmlns="http://schemas.microsoft.com/office/infopath/2007/PartnerControls">
        <TermInfo xmlns="http://schemas.microsoft.com/office/infopath/2007/PartnerControls">
          <TermName xmlns="http://schemas.microsoft.com/office/infopath/2007/PartnerControls">DAM_2024-57724</TermName>
          <TermId xmlns="http://schemas.microsoft.com/office/infopath/2007/PartnerControls">3fbaf5e0-654a-422b-b25d-d0509cec1208</TermId>
        </TermInfo>
      </Terms>
    </n48bc881e4284b329917b457f7c7241c>
    <GP-Bezeichnung xmlns="8035233b-0771-40f6-9a57-d970e577b171" xsi:nil="true"/>
    <_dlc_DocIdUrl xmlns="8035233b-0771-40f6-9a57-d970e577b171">
      <Url>https://bbhberatung.sharepoint.com/sites/DA_06552-24/_layouts/15/DocIdRedir.aspx?ID=UZTXKHAVTXCR-1359826036-110</Url>
      <Description>UZTXKHAVTXCR-1359826036-110</Description>
    </_dlc_DocIdUrl>
    <TaxCatchAll xmlns="710ded97-8f78-49d1-bb0c-2248ba6bfbf4">
      <Value>3</Value>
    </TaxCatchAll>
    <_dlc_DocId xmlns="8035233b-0771-40f6-9a57-d970e577b171">UZTXKHAVTXCR-1359826036-110</_dlc_DocId>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73C4EC1-30D8-45A4-A606-EAD4ADB620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035233b-0771-40f6-9a57-d970e577b171"/>
    <ds:schemaRef ds:uri="710ded97-8f78-49d1-bb0c-2248ba6bfbf4"/>
    <ds:schemaRef ds:uri="b2759220-19da-46f7-9332-37e86e77ad64"/>
    <ds:schemaRef ds:uri="540b4683-d8a8-4edf-aabb-cfcc3462f6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0FEE9F4-A0F1-44AB-9D24-55BE5A8CEA91}">
  <ds:schemaRefs>
    <ds:schemaRef ds:uri="69b0d996-82e0-4e91-bb35-d480b683806c"/>
    <ds:schemaRef ds:uri="6cda4d46-3795-4e1e-92a9-718117cf946a"/>
    <ds:schemaRef ds:uri="8035233b-0771-40f6-9a57-d970e577b171"/>
    <ds:schemaRef ds:uri="b2759220-19da-46f7-9332-37e86e77ad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710ded97-8f78-49d1-bb0c-2248ba6bfbf4"/>
  </ds:schemaRefs>
</ds:datastoreItem>
</file>

<file path=customXml/itemProps3.xml><?xml version="1.0" encoding="utf-8"?>
<ds:datastoreItem xmlns:ds="http://schemas.openxmlformats.org/officeDocument/2006/customXml" ds:itemID="{9195D137-6459-4DBF-9702-54C08BB3F2ED}">
  <ds:schemaRefs>
    <ds:schemaRef ds:uri="http://schemas.microsoft.com/sharepoint/events"/>
  </ds:schemaRefs>
</ds:datastoreItem>
</file>

<file path=customXml/itemProps4.xml><?xml version="1.0" encoding="utf-8"?>
<ds:datastoreItem xmlns:ds="http://schemas.openxmlformats.org/officeDocument/2006/customXml" ds:itemID="{3010B65A-68A5-4F61-A7BD-59D1C1F52F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BHC_16-9</Template>
  <TotalTime>0</TotalTime>
  <Words>776</Words>
  <Application>Microsoft Office PowerPoint</Application>
  <PresentationFormat>Breitbild</PresentationFormat>
  <Paragraphs>96</Paragraphs>
  <Slides>7</Slides>
  <Notes>3</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7</vt:i4>
      </vt:variant>
    </vt:vector>
  </HeadingPairs>
  <TitlesOfParts>
    <vt:vector size="17" baseType="lpstr">
      <vt:lpstr>Arial</vt:lpstr>
      <vt:lpstr>Cambria</vt:lpstr>
      <vt:lpstr>Corbel</vt:lpstr>
      <vt:lpstr>CorpoS</vt:lpstr>
      <vt:lpstr>Marlett</vt:lpstr>
      <vt:lpstr>Symbol</vt:lpstr>
      <vt:lpstr>Wingdings</vt:lpstr>
      <vt:lpstr>Wingdings 3</vt:lpstr>
      <vt:lpstr>BBHC</vt:lpstr>
      <vt:lpstr>think-cell Folie</vt:lpstr>
      <vt:lpstr>Kommunale Wärmeplanung der Verbandsgemeinde Unkel</vt:lpstr>
      <vt:lpstr>Kommunale Wärmeplanung in der Verbandsgemeinde Unkel</vt:lpstr>
      <vt:lpstr>Teilprojekt A: Bestands- und Potentialanalyse</vt:lpstr>
      <vt:lpstr>Teilprojekt B: Zielszenarien und Strategieentwicklung</vt:lpstr>
      <vt:lpstr>Teilprojekt C: Akteurs- und Öffentlichkeitsbeteiligung </vt:lpstr>
      <vt:lpstr>Teilkonzept D: Verstetigung und Controlling</vt:lpstr>
      <vt:lpstr>Ergebnis: Kommunaler Wärmeplan inkl. Einteilung der Kommune in voraussichtliche Wärmeversorgungsgebiet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gebotspräsentation für die kommunale Wärmeplanung für die Rolandstadt Perleberg</dc:title>
  <dc:creator>Sakmann, Sebastian</dc:creator>
  <dc:description>Optimiert für Office 2016</dc:description>
  <cp:lastModifiedBy>Sakmann, Sebastian</cp:lastModifiedBy>
  <cp:revision>3</cp:revision>
  <cp:lastPrinted>2014-05-06T07:38:52Z</cp:lastPrinted>
  <dcterms:created xsi:type="dcterms:W3CDTF">2024-06-21T06:22:44Z</dcterms:created>
  <dcterms:modified xsi:type="dcterms:W3CDTF">2024-12-10T14:10:02Z</dcterms:modified>
  <cp:category/>
  <cp:contentStatus>FREIGEGEBENE ARBEITSVERSION</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a73a83b00fda40f4932daa909fb9eee0">
    <vt:lpwstr/>
  </property>
  <property fmtid="{D5CDD505-2E9C-101B-9397-08002B2CF9AE}" pid="4" name="ac56422a87aa4854a6a56e23dca96a43">
    <vt:lpwstr/>
  </property>
  <property fmtid="{D5CDD505-2E9C-101B-9397-08002B2CF9AE}" pid="5" name="h9f9937c4140432c88ec9043998576ed">
    <vt:lpwstr/>
  </property>
  <property fmtid="{D5CDD505-2E9C-101B-9397-08002B2CF9AE}" pid="6" name="Geschäftspartner">
    <vt:lpwstr/>
  </property>
  <property fmtid="{D5CDD505-2E9C-101B-9397-08002B2CF9AE}" pid="7" name="Orte">
    <vt:lpwstr/>
  </property>
  <property fmtid="{D5CDD505-2E9C-101B-9397-08002B2CF9AE}" pid="8" name="Digitale Akte">
    <vt:lpwstr/>
  </property>
  <property fmtid="{D5CDD505-2E9C-101B-9397-08002B2CF9AE}" pid="9" name="Dokumententyp">
    <vt:lpwstr/>
  </property>
  <property fmtid="{D5CDD505-2E9C-101B-9397-08002B2CF9AE}" pid="10" name="Themen">
    <vt:lpwstr/>
  </property>
  <property fmtid="{D5CDD505-2E9C-101B-9397-08002B2CF9AE}" pid="11" name="Digitale_x0020_Auftragsmappe">
    <vt:lpwstr>3;#DAM_2024-57724|3fbaf5e0-654a-422b-b25d-d0509cec1208</vt:lpwstr>
  </property>
  <property fmtid="{D5CDD505-2E9C-101B-9397-08002B2CF9AE}" pid="12" name="Gesch_x00e4_ftspartner">
    <vt:lpwstr/>
  </property>
  <property fmtid="{D5CDD505-2E9C-101B-9397-08002B2CF9AE}" pid="13" name="Digitale Auftragsmappe">
    <vt:lpwstr>3;#DAM_2024-57724|3fbaf5e0-654a-422b-b25d-d0509cec1208</vt:lpwstr>
  </property>
  <property fmtid="{D5CDD505-2E9C-101B-9397-08002B2CF9AE}" pid="14" name="Digitale_x0020_Akte">
    <vt:lpwstr/>
  </property>
  <property fmtid="{D5CDD505-2E9C-101B-9397-08002B2CF9AE}" pid="15" name="ContentTypeId">
    <vt:lpwstr>0x010100831D809848E9E7489A7EF0D2C6DCF9300039623E02B8706B4CB60C1CC7AFB43EF3</vt:lpwstr>
  </property>
  <property fmtid="{D5CDD505-2E9C-101B-9397-08002B2CF9AE}" pid="16" name="_dlc_DocIdItemGuid">
    <vt:lpwstr>9c5551f0-c302-4a58-a13d-b09507147652</vt:lpwstr>
  </property>
</Properties>
</file>